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0.xml" ContentType="application/vnd.openxmlformats-officedocument.presentationml.tags+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18"/>
  </p:notesMasterIdLst>
  <p:handoutMasterIdLst>
    <p:handoutMasterId r:id="rId19"/>
  </p:handoutMasterIdLst>
  <p:sldIdLst>
    <p:sldId id="8860" r:id="rId5"/>
    <p:sldId id="8833" r:id="rId6"/>
    <p:sldId id="8855" r:id="rId7"/>
    <p:sldId id="8789" r:id="rId8"/>
    <p:sldId id="259" r:id="rId9"/>
    <p:sldId id="8856" r:id="rId10"/>
    <p:sldId id="8835" r:id="rId11"/>
    <p:sldId id="8846" r:id="rId12"/>
    <p:sldId id="8854" r:id="rId13"/>
    <p:sldId id="8837" r:id="rId14"/>
    <p:sldId id="495" r:id="rId15"/>
    <p:sldId id="8831" r:id="rId16"/>
    <p:sldId id="8861" r:id="rId17"/>
  </p:sldIdLst>
  <p:sldSz cx="12192000" cy="6858000"/>
  <p:notesSz cx="7104063" cy="10234613"/>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showScrollbar="0"/>
    <p:sldAll/>
    <p:penClr>
      <a:prstClr val="red"/>
    </p:penClr>
    <p:extLst>
      <p:ext uri="{F99C55AA-B7CB-42B0-86F8-08522FDF87E8}">
        <p14:browseMode xmlns:p14="http://schemas.microsoft.com/office/powerpoint/2010/main" showStatus="0"/>
      </p:ex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EDC30D"/>
    <a:srgbClr val="F2C811"/>
    <a:srgbClr val="F2C812"/>
    <a:srgbClr val="494949"/>
    <a:srgbClr val="FFC000"/>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1C0728-53B4-4656-9288-4AC6FFDCC989}" v="53" dt="2019-11-07T14:51:31.198"/>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2" autoAdjust="0"/>
    <p:restoredTop sz="55866" autoAdjust="0"/>
  </p:normalViewPr>
  <p:slideViewPr>
    <p:cSldViewPr snapToGrid="0">
      <p:cViewPr varScale="1">
        <p:scale>
          <a:sx n="80" d="100"/>
          <a:sy n="80" d="100"/>
        </p:scale>
        <p:origin x="1052" y="40"/>
      </p:cViewPr>
      <p:guideLst/>
    </p:cSldViewPr>
  </p:slideViewPr>
  <p:notesTextViewPr>
    <p:cViewPr>
      <p:scale>
        <a:sx n="1" d="1"/>
        <a:sy n="1" d="1"/>
      </p:scale>
      <p:origin x="0" y="0"/>
    </p:cViewPr>
  </p:notesTextViewPr>
  <p:sorterViewPr>
    <p:cViewPr>
      <p:scale>
        <a:sx n="100" d="100"/>
        <a:sy n="100" d="100"/>
      </p:scale>
      <p:origin x="0" y="-135405"/>
    </p:cViewPr>
  </p:sorterViewPr>
  <p:notesViewPr>
    <p:cSldViewPr snapToGrid="0">
      <p:cViewPr>
        <p:scale>
          <a:sx n="1" d="2"/>
          <a:sy n="1" d="2"/>
        </p:scale>
        <p:origin x="3974" y="10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rawing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GB" sz="2400" baseline="0" dirty="0">
              <a:solidFill>
                <a:schemeClr val="tx2"/>
              </a:solidFill>
            </a:rPr>
            <a:t>Power BI can foster a data-driven culture</a:t>
          </a:r>
          <a:endParaRPr lang="en-US" sz="2400" dirty="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2400" dirty="0"/>
            <a:t>Opportunity</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GB" sz="2400" b="0" i="0" u="none" dirty="0">
              <a:solidFill>
                <a:schemeClr val="bg2"/>
              </a:solidFill>
            </a:rPr>
            <a:t>Challenge</a:t>
          </a:r>
          <a:endParaRPr lang="en-GB" sz="2400" dirty="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baseline="0" dirty="0">
              <a:solidFill>
                <a:schemeClr val="tx2"/>
              </a:solidFill>
            </a:rPr>
            <a:t>Framework that acts as a wrapper around Power BI to drive a Data Driven Culture</a:t>
          </a:r>
          <a:endParaRPr lang="en-GB" sz="2400" dirty="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2400" dirty="0">
              <a:solidFill>
                <a:schemeClr val="bg2"/>
              </a:solidFill>
            </a:rPr>
            <a:t>Proposal</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r>
            <a:rPr lang="en-GB" sz="2400" baseline="0">
              <a:solidFill>
                <a:schemeClr val="tx2"/>
              </a:solidFill>
            </a:rPr>
            <a:t>Self-Service BI adoption can be challenging</a:t>
          </a:r>
          <a:endParaRPr lang="en-GB" sz="2400" dirty="0">
            <a:solidFill>
              <a:schemeClr val="bg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CA441-E565-4CAE-A1A6-0E184753E237}"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58E4D43-A598-4CA3-9A2B-D9A49E7C8AF3}">
      <dgm:prSet/>
      <dgm:spPr/>
      <dgm:t>
        <a:bodyPr/>
        <a:lstStyle/>
        <a:p>
          <a:r>
            <a:rPr lang="en-GB"/>
            <a:t>Data Culture</a:t>
          </a:r>
          <a:endParaRPr lang="en-US"/>
        </a:p>
      </dgm:t>
    </dgm:pt>
    <dgm:pt modelId="{5C2325E9-E8AF-4209-9C1E-4C27B8828559}" type="parTrans" cxnId="{CAA3CC02-C8A4-49E5-BAC8-3E3D58101E61}">
      <dgm:prSet/>
      <dgm:spPr/>
      <dgm:t>
        <a:bodyPr/>
        <a:lstStyle/>
        <a:p>
          <a:endParaRPr lang="en-US"/>
        </a:p>
      </dgm:t>
    </dgm:pt>
    <dgm:pt modelId="{F465B4D0-F178-4800-92AF-4EA5121BD0A6}" type="sibTrans" cxnId="{CAA3CC02-C8A4-49E5-BAC8-3E3D58101E61}">
      <dgm:prSet/>
      <dgm:spPr/>
      <dgm:t>
        <a:bodyPr/>
        <a:lstStyle/>
        <a:p>
          <a:endParaRPr lang="en-US"/>
        </a:p>
      </dgm:t>
    </dgm:pt>
    <dgm:pt modelId="{16B7A893-A5F9-43E2-96E6-04B67D39247F}">
      <dgm:prSet/>
      <dgm:spPr/>
      <dgm:t>
        <a:bodyPr/>
        <a:lstStyle/>
        <a:p>
          <a:r>
            <a:rPr lang="en-GB"/>
            <a:t>Agile BI Mindset</a:t>
          </a:r>
          <a:endParaRPr lang="en-US"/>
        </a:p>
      </dgm:t>
    </dgm:pt>
    <dgm:pt modelId="{AF17136B-D743-4D3F-B17D-DD3D92CF5519}" type="parTrans" cxnId="{0DE9FD27-B962-482C-8F55-DAC7771838AD}">
      <dgm:prSet/>
      <dgm:spPr/>
      <dgm:t>
        <a:bodyPr/>
        <a:lstStyle/>
        <a:p>
          <a:endParaRPr lang="en-US"/>
        </a:p>
      </dgm:t>
    </dgm:pt>
    <dgm:pt modelId="{2CE11F29-7056-4CDE-8456-E549D9A4447A}" type="sibTrans" cxnId="{0DE9FD27-B962-482C-8F55-DAC7771838AD}">
      <dgm:prSet/>
      <dgm:spPr/>
      <dgm:t>
        <a:bodyPr/>
        <a:lstStyle/>
        <a:p>
          <a:endParaRPr lang="en-US"/>
        </a:p>
      </dgm:t>
    </dgm:pt>
    <dgm:pt modelId="{BB931AC4-6815-42B2-9A3D-9DA76AE82714}">
      <dgm:prSet/>
      <dgm:spPr/>
      <dgm:t>
        <a:bodyPr/>
        <a:lstStyle/>
        <a:p>
          <a:r>
            <a:rPr lang="en-GB"/>
            <a:t>Consolidation of Tools</a:t>
          </a:r>
          <a:endParaRPr lang="en-US"/>
        </a:p>
      </dgm:t>
    </dgm:pt>
    <dgm:pt modelId="{E29E494F-94B4-424E-9888-5590F679209B}" type="parTrans" cxnId="{322B6303-A3B6-4B97-95AA-66860E64B07C}">
      <dgm:prSet/>
      <dgm:spPr/>
      <dgm:t>
        <a:bodyPr/>
        <a:lstStyle/>
        <a:p>
          <a:endParaRPr lang="en-US"/>
        </a:p>
      </dgm:t>
    </dgm:pt>
    <dgm:pt modelId="{260EE3C2-4EC9-4244-993A-A1D9B7D4BC19}" type="sibTrans" cxnId="{322B6303-A3B6-4B97-95AA-66860E64B07C}">
      <dgm:prSet/>
      <dgm:spPr/>
      <dgm:t>
        <a:bodyPr/>
        <a:lstStyle/>
        <a:p>
          <a:endParaRPr lang="en-US"/>
        </a:p>
      </dgm:t>
    </dgm:pt>
    <dgm:pt modelId="{A3D3C245-43D3-4AE7-84F0-62978627F09C}" type="pres">
      <dgm:prSet presAssocID="{5F0CA441-E565-4CAE-A1A6-0E184753E237}" presName="root" presStyleCnt="0">
        <dgm:presLayoutVars>
          <dgm:dir/>
          <dgm:resizeHandles val="exact"/>
        </dgm:presLayoutVars>
      </dgm:prSet>
      <dgm:spPr/>
    </dgm:pt>
    <dgm:pt modelId="{5D755B9F-D378-413B-94E9-E64191F289D6}" type="pres">
      <dgm:prSet presAssocID="{258E4D43-A598-4CA3-9A2B-D9A49E7C8AF3}" presName="compNode" presStyleCnt="0"/>
      <dgm:spPr/>
    </dgm:pt>
    <dgm:pt modelId="{6649D4BB-9078-4A63-B98A-D261CB49B459}" type="pres">
      <dgm:prSet presAssocID="{258E4D43-A598-4CA3-9A2B-D9A49E7C8AF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20009AF0-8181-47FF-8C26-D2904F8F08B3}" type="pres">
      <dgm:prSet presAssocID="{258E4D43-A598-4CA3-9A2B-D9A49E7C8AF3}" presName="spaceRect" presStyleCnt="0"/>
      <dgm:spPr/>
    </dgm:pt>
    <dgm:pt modelId="{DF0FB06A-AACA-4CBE-97E4-863F4C084A33}" type="pres">
      <dgm:prSet presAssocID="{258E4D43-A598-4CA3-9A2B-D9A49E7C8AF3}" presName="textRect" presStyleLbl="revTx" presStyleIdx="0" presStyleCnt="3">
        <dgm:presLayoutVars>
          <dgm:chMax val="1"/>
          <dgm:chPref val="1"/>
        </dgm:presLayoutVars>
      </dgm:prSet>
      <dgm:spPr/>
    </dgm:pt>
    <dgm:pt modelId="{0DD6405A-ADA8-4635-A9D5-1A12849EF9BC}" type="pres">
      <dgm:prSet presAssocID="{F465B4D0-F178-4800-92AF-4EA5121BD0A6}" presName="sibTrans" presStyleCnt="0"/>
      <dgm:spPr/>
    </dgm:pt>
    <dgm:pt modelId="{3F976FB8-187D-4B57-ABEA-EDF44A513F09}" type="pres">
      <dgm:prSet presAssocID="{16B7A893-A5F9-43E2-96E6-04B67D39247F}" presName="compNode" presStyleCnt="0"/>
      <dgm:spPr/>
    </dgm:pt>
    <dgm:pt modelId="{907D3017-1203-415E-90DD-76939E3C7734}" type="pres">
      <dgm:prSet presAssocID="{16B7A893-A5F9-43E2-96E6-04B67D39247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6138D781-7A0C-4EE2-9DE4-753957F0F356}" type="pres">
      <dgm:prSet presAssocID="{16B7A893-A5F9-43E2-96E6-04B67D39247F}" presName="spaceRect" presStyleCnt="0"/>
      <dgm:spPr/>
    </dgm:pt>
    <dgm:pt modelId="{5EDE808C-7170-4DE1-83F2-2CA0020AA758}" type="pres">
      <dgm:prSet presAssocID="{16B7A893-A5F9-43E2-96E6-04B67D39247F}" presName="textRect" presStyleLbl="revTx" presStyleIdx="1" presStyleCnt="3">
        <dgm:presLayoutVars>
          <dgm:chMax val="1"/>
          <dgm:chPref val="1"/>
        </dgm:presLayoutVars>
      </dgm:prSet>
      <dgm:spPr/>
    </dgm:pt>
    <dgm:pt modelId="{5E60468B-0DD1-4C10-91B7-C275CAA214E6}" type="pres">
      <dgm:prSet presAssocID="{2CE11F29-7056-4CDE-8456-E549D9A4447A}" presName="sibTrans" presStyleCnt="0"/>
      <dgm:spPr/>
    </dgm:pt>
    <dgm:pt modelId="{B32425BF-9D98-4F58-A8C8-7EB7757F17A9}" type="pres">
      <dgm:prSet presAssocID="{BB931AC4-6815-42B2-9A3D-9DA76AE82714}" presName="compNode" presStyleCnt="0"/>
      <dgm:spPr/>
    </dgm:pt>
    <dgm:pt modelId="{C8DC6501-2CC0-4FEB-9E6C-5EA8B9439192}" type="pres">
      <dgm:prSet presAssocID="{BB931AC4-6815-42B2-9A3D-9DA76AE8271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ools"/>
        </a:ext>
      </dgm:extLst>
    </dgm:pt>
    <dgm:pt modelId="{CE6D793A-1FA1-4414-889A-787D5CBC7526}" type="pres">
      <dgm:prSet presAssocID="{BB931AC4-6815-42B2-9A3D-9DA76AE82714}" presName="spaceRect" presStyleCnt="0"/>
      <dgm:spPr/>
    </dgm:pt>
    <dgm:pt modelId="{0DA93751-4E2F-4EFD-83B6-48672ED5E393}" type="pres">
      <dgm:prSet presAssocID="{BB931AC4-6815-42B2-9A3D-9DA76AE82714}" presName="textRect" presStyleLbl="revTx" presStyleIdx="2" presStyleCnt="3">
        <dgm:presLayoutVars>
          <dgm:chMax val="1"/>
          <dgm:chPref val="1"/>
        </dgm:presLayoutVars>
      </dgm:prSet>
      <dgm:spPr/>
    </dgm:pt>
  </dgm:ptLst>
  <dgm:cxnLst>
    <dgm:cxn modelId="{CAA3CC02-C8A4-49E5-BAC8-3E3D58101E61}" srcId="{5F0CA441-E565-4CAE-A1A6-0E184753E237}" destId="{258E4D43-A598-4CA3-9A2B-D9A49E7C8AF3}" srcOrd="0" destOrd="0" parTransId="{5C2325E9-E8AF-4209-9C1E-4C27B8828559}" sibTransId="{F465B4D0-F178-4800-92AF-4EA5121BD0A6}"/>
    <dgm:cxn modelId="{322B6303-A3B6-4B97-95AA-66860E64B07C}" srcId="{5F0CA441-E565-4CAE-A1A6-0E184753E237}" destId="{BB931AC4-6815-42B2-9A3D-9DA76AE82714}" srcOrd="2" destOrd="0" parTransId="{E29E494F-94B4-424E-9888-5590F679209B}" sibTransId="{260EE3C2-4EC9-4244-993A-A1D9B7D4BC19}"/>
    <dgm:cxn modelId="{B1E76C0B-3D0A-44E9-BCA9-715E23B79A7F}" type="presOf" srcId="{16B7A893-A5F9-43E2-96E6-04B67D39247F}" destId="{5EDE808C-7170-4DE1-83F2-2CA0020AA758}" srcOrd="0" destOrd="0" presId="urn:microsoft.com/office/officeart/2018/2/layout/IconLabelList"/>
    <dgm:cxn modelId="{0FDE2518-E3C6-40B0-A1CE-5D993CF26143}" type="presOf" srcId="{BB931AC4-6815-42B2-9A3D-9DA76AE82714}" destId="{0DA93751-4E2F-4EFD-83B6-48672ED5E393}" srcOrd="0" destOrd="0" presId="urn:microsoft.com/office/officeart/2018/2/layout/IconLabelList"/>
    <dgm:cxn modelId="{0DE9FD27-B962-482C-8F55-DAC7771838AD}" srcId="{5F0CA441-E565-4CAE-A1A6-0E184753E237}" destId="{16B7A893-A5F9-43E2-96E6-04B67D39247F}" srcOrd="1" destOrd="0" parTransId="{AF17136B-D743-4D3F-B17D-DD3D92CF5519}" sibTransId="{2CE11F29-7056-4CDE-8456-E549D9A4447A}"/>
    <dgm:cxn modelId="{4A80A637-D798-465B-960E-84C0ECEFA3C6}" type="presOf" srcId="{258E4D43-A598-4CA3-9A2B-D9A49E7C8AF3}" destId="{DF0FB06A-AACA-4CBE-97E4-863F4C084A33}" srcOrd="0" destOrd="0" presId="urn:microsoft.com/office/officeart/2018/2/layout/IconLabelList"/>
    <dgm:cxn modelId="{B29F466D-20F3-443E-8B5A-E22F374B25C2}" type="presOf" srcId="{5F0CA441-E565-4CAE-A1A6-0E184753E237}" destId="{A3D3C245-43D3-4AE7-84F0-62978627F09C}" srcOrd="0" destOrd="0" presId="urn:microsoft.com/office/officeart/2018/2/layout/IconLabelList"/>
    <dgm:cxn modelId="{B100BFEF-6565-4AA1-B5C2-7106EC4F405C}" type="presParOf" srcId="{A3D3C245-43D3-4AE7-84F0-62978627F09C}" destId="{5D755B9F-D378-413B-94E9-E64191F289D6}" srcOrd="0" destOrd="0" presId="urn:microsoft.com/office/officeart/2018/2/layout/IconLabelList"/>
    <dgm:cxn modelId="{BD732D0B-35B9-4425-87CE-19679191EC91}" type="presParOf" srcId="{5D755B9F-D378-413B-94E9-E64191F289D6}" destId="{6649D4BB-9078-4A63-B98A-D261CB49B459}" srcOrd="0" destOrd="0" presId="urn:microsoft.com/office/officeart/2018/2/layout/IconLabelList"/>
    <dgm:cxn modelId="{38E93255-ACA0-4340-906A-02C5C130BE72}" type="presParOf" srcId="{5D755B9F-D378-413B-94E9-E64191F289D6}" destId="{20009AF0-8181-47FF-8C26-D2904F8F08B3}" srcOrd="1" destOrd="0" presId="urn:microsoft.com/office/officeart/2018/2/layout/IconLabelList"/>
    <dgm:cxn modelId="{E113C6BD-176D-4DF1-A4EF-014E025DFDA5}" type="presParOf" srcId="{5D755B9F-D378-413B-94E9-E64191F289D6}" destId="{DF0FB06A-AACA-4CBE-97E4-863F4C084A33}" srcOrd="2" destOrd="0" presId="urn:microsoft.com/office/officeart/2018/2/layout/IconLabelList"/>
    <dgm:cxn modelId="{1CC103AB-0161-462B-A726-EF331B3CC2BB}" type="presParOf" srcId="{A3D3C245-43D3-4AE7-84F0-62978627F09C}" destId="{0DD6405A-ADA8-4635-A9D5-1A12849EF9BC}" srcOrd="1" destOrd="0" presId="urn:microsoft.com/office/officeart/2018/2/layout/IconLabelList"/>
    <dgm:cxn modelId="{27F4E032-4B4F-4314-AB53-F96AB5FBCF64}" type="presParOf" srcId="{A3D3C245-43D3-4AE7-84F0-62978627F09C}" destId="{3F976FB8-187D-4B57-ABEA-EDF44A513F09}" srcOrd="2" destOrd="0" presId="urn:microsoft.com/office/officeart/2018/2/layout/IconLabelList"/>
    <dgm:cxn modelId="{2099EB29-45A4-44AF-A745-2A59391015C1}" type="presParOf" srcId="{3F976FB8-187D-4B57-ABEA-EDF44A513F09}" destId="{907D3017-1203-415E-90DD-76939E3C7734}" srcOrd="0" destOrd="0" presId="urn:microsoft.com/office/officeart/2018/2/layout/IconLabelList"/>
    <dgm:cxn modelId="{92B90321-BA94-4F0E-AAF9-0C8037301E2B}" type="presParOf" srcId="{3F976FB8-187D-4B57-ABEA-EDF44A513F09}" destId="{6138D781-7A0C-4EE2-9DE4-753957F0F356}" srcOrd="1" destOrd="0" presId="urn:microsoft.com/office/officeart/2018/2/layout/IconLabelList"/>
    <dgm:cxn modelId="{60FD733F-D276-4D88-95C3-60EA065617FB}" type="presParOf" srcId="{3F976FB8-187D-4B57-ABEA-EDF44A513F09}" destId="{5EDE808C-7170-4DE1-83F2-2CA0020AA758}" srcOrd="2" destOrd="0" presId="urn:microsoft.com/office/officeart/2018/2/layout/IconLabelList"/>
    <dgm:cxn modelId="{E0D63343-48A6-4761-B03A-D410AA5F7AC5}" type="presParOf" srcId="{A3D3C245-43D3-4AE7-84F0-62978627F09C}" destId="{5E60468B-0DD1-4C10-91B7-C275CAA214E6}" srcOrd="3" destOrd="0" presId="urn:microsoft.com/office/officeart/2018/2/layout/IconLabelList"/>
    <dgm:cxn modelId="{D4B45203-F27A-4085-93E3-A74CC2D009B1}" type="presParOf" srcId="{A3D3C245-43D3-4AE7-84F0-62978627F09C}" destId="{B32425BF-9D98-4F58-A8C8-7EB7757F17A9}" srcOrd="4" destOrd="0" presId="urn:microsoft.com/office/officeart/2018/2/layout/IconLabelList"/>
    <dgm:cxn modelId="{6D82E6E6-3621-4190-8034-9B0F78965D4F}" type="presParOf" srcId="{B32425BF-9D98-4F58-A8C8-7EB7757F17A9}" destId="{C8DC6501-2CC0-4FEB-9E6C-5EA8B9439192}" srcOrd="0" destOrd="0" presId="urn:microsoft.com/office/officeart/2018/2/layout/IconLabelList"/>
    <dgm:cxn modelId="{42841EF0-406B-453A-B051-4DA3D8F863C0}" type="presParOf" srcId="{B32425BF-9D98-4F58-A8C8-7EB7757F17A9}" destId="{CE6D793A-1FA1-4414-889A-787D5CBC7526}" srcOrd="1" destOrd="0" presId="urn:microsoft.com/office/officeart/2018/2/layout/IconLabelList"/>
    <dgm:cxn modelId="{8749D212-B1A8-42C2-8434-A8C5AA794AD1}" type="presParOf" srcId="{B32425BF-9D98-4F58-A8C8-7EB7757F17A9}" destId="{0DA93751-4E2F-4EFD-83B6-48672ED5E393}" srcOrd="2" destOrd="0" presId="urn:microsoft.com/office/officeart/2018/2/layout/Icon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13FFBC-1CEE-42EA-AC62-FFC054D8C46E}" type="doc">
      <dgm:prSet loTypeId="urn:microsoft.com/office/officeart/2009/3/layout/StepUpProcess" loCatId="process" qsTypeId="urn:microsoft.com/office/officeart/2005/8/quickstyle/simple1" qsCatId="simple" csTypeId="urn:microsoft.com/office/officeart/2005/8/colors/accent0_3" csCatId="mainScheme" phldr="1"/>
      <dgm:spPr/>
      <dgm:t>
        <a:bodyPr/>
        <a:lstStyle/>
        <a:p>
          <a:endParaRPr lang="en-GB"/>
        </a:p>
      </dgm:t>
    </dgm:pt>
    <dgm:pt modelId="{F4271238-9C86-47D2-A155-EAAB9C578927}">
      <dgm:prSet custT="1"/>
      <dgm:spPr/>
      <dgm:t>
        <a:bodyPr/>
        <a:lstStyle/>
        <a:p>
          <a:pPr algn="ctr"/>
          <a:r>
            <a:rPr lang="en-GB" sz="1800" dirty="0">
              <a:solidFill>
                <a:schemeClr val="tx1"/>
              </a:solidFill>
            </a:rPr>
            <a:t>Awareness</a:t>
          </a:r>
        </a:p>
        <a:p>
          <a:pPr algn="ctr"/>
          <a:r>
            <a:rPr lang="en-GB" sz="1400" dirty="0">
              <a:solidFill>
                <a:schemeClr val="tx1"/>
              </a:solidFill>
            </a:rPr>
            <a:t>“Provide Context”</a:t>
          </a:r>
        </a:p>
      </dgm:t>
    </dgm:pt>
    <dgm:pt modelId="{4BDE395A-27D3-4A16-8F21-0478BFB66361}" type="parTrans" cxnId="{AC926DFA-C01C-496D-BDB8-01EB1B31C232}">
      <dgm:prSet/>
      <dgm:spPr/>
      <dgm:t>
        <a:bodyPr/>
        <a:lstStyle/>
        <a:p>
          <a:endParaRPr lang="en-GB"/>
        </a:p>
      </dgm:t>
    </dgm:pt>
    <dgm:pt modelId="{EB76DEA0-12E6-4335-8D18-EAF8391333D6}" type="sibTrans" cxnId="{AC926DFA-C01C-496D-BDB8-01EB1B31C232}">
      <dgm:prSet/>
      <dgm:spPr/>
      <dgm:t>
        <a:bodyPr/>
        <a:lstStyle/>
        <a:p>
          <a:endParaRPr lang="en-GB"/>
        </a:p>
      </dgm:t>
    </dgm:pt>
    <dgm:pt modelId="{F3BB100C-B4F8-4F04-8580-844FEEBC1122}">
      <dgm:prSet custT="1"/>
      <dgm:spPr/>
      <dgm:t>
        <a:bodyPr/>
        <a:lstStyle/>
        <a:p>
          <a:pPr algn="ctr"/>
          <a:r>
            <a:rPr lang="en-GB" sz="1800" dirty="0">
              <a:solidFill>
                <a:schemeClr val="tx1"/>
              </a:solidFill>
            </a:rPr>
            <a:t>Understanding</a:t>
          </a:r>
        </a:p>
        <a:p>
          <a:pPr algn="ctr"/>
          <a:r>
            <a:rPr lang="en-GB" sz="1400" dirty="0">
              <a:solidFill>
                <a:schemeClr val="tx1"/>
              </a:solidFill>
            </a:rPr>
            <a:t>“Create Momentum”</a:t>
          </a:r>
        </a:p>
      </dgm:t>
    </dgm:pt>
    <dgm:pt modelId="{A7DFACAD-B80F-4D16-95F9-9FCF183CE456}" type="parTrans" cxnId="{64C4F310-F4A3-4F05-B97D-EB14502D48C1}">
      <dgm:prSet/>
      <dgm:spPr/>
      <dgm:t>
        <a:bodyPr/>
        <a:lstStyle/>
        <a:p>
          <a:endParaRPr lang="en-GB"/>
        </a:p>
      </dgm:t>
    </dgm:pt>
    <dgm:pt modelId="{9547A460-8529-4D65-9AC0-63AEB24BD40D}" type="sibTrans" cxnId="{64C4F310-F4A3-4F05-B97D-EB14502D48C1}">
      <dgm:prSet/>
      <dgm:spPr/>
      <dgm:t>
        <a:bodyPr/>
        <a:lstStyle/>
        <a:p>
          <a:endParaRPr lang="en-GB"/>
        </a:p>
      </dgm:t>
    </dgm:pt>
    <dgm:pt modelId="{32E93927-1DA7-41E0-97FC-A8A42EA55892}">
      <dgm:prSet custT="1"/>
      <dgm:spPr/>
      <dgm:t>
        <a:bodyPr/>
        <a:lstStyle/>
        <a:p>
          <a:pPr algn="ctr"/>
          <a:r>
            <a:rPr lang="en-GB" sz="1800" dirty="0">
              <a:solidFill>
                <a:schemeClr val="tx1"/>
              </a:solidFill>
            </a:rPr>
            <a:t>Enablement</a:t>
          </a:r>
        </a:p>
        <a:p>
          <a:pPr algn="ctr"/>
          <a:r>
            <a:rPr lang="en-GB" sz="1400" dirty="0">
              <a:solidFill>
                <a:schemeClr val="tx1"/>
              </a:solidFill>
            </a:rPr>
            <a:t>“Increase knowledge, </a:t>
          </a:r>
        </a:p>
        <a:p>
          <a:pPr algn="ctr"/>
          <a:r>
            <a:rPr lang="en-GB" sz="1400" dirty="0">
              <a:solidFill>
                <a:schemeClr val="tx1"/>
              </a:solidFill>
            </a:rPr>
            <a:t>Provide support”</a:t>
          </a:r>
        </a:p>
      </dgm:t>
    </dgm:pt>
    <dgm:pt modelId="{5ED1F745-EC5A-42C7-9344-1743ACAE933C}" type="parTrans" cxnId="{C9B724F2-E63B-49E1-A66A-3D7FD1BC7762}">
      <dgm:prSet/>
      <dgm:spPr/>
      <dgm:t>
        <a:bodyPr/>
        <a:lstStyle/>
        <a:p>
          <a:endParaRPr lang="en-GB"/>
        </a:p>
      </dgm:t>
    </dgm:pt>
    <dgm:pt modelId="{4783E172-FAC7-4613-8303-E058A1335E9B}" type="sibTrans" cxnId="{C9B724F2-E63B-49E1-A66A-3D7FD1BC7762}">
      <dgm:prSet/>
      <dgm:spPr/>
      <dgm:t>
        <a:bodyPr/>
        <a:lstStyle/>
        <a:p>
          <a:endParaRPr lang="en-GB"/>
        </a:p>
      </dgm:t>
    </dgm:pt>
    <dgm:pt modelId="{A0C155AC-72F7-4C3C-9444-F6C7E5715DDC}">
      <dgm:prSet custT="1"/>
      <dgm:spPr/>
      <dgm:t>
        <a:bodyPr/>
        <a:lstStyle/>
        <a:p>
          <a:pPr algn="ctr"/>
          <a:r>
            <a:rPr lang="en-GB" sz="1800" dirty="0">
              <a:solidFill>
                <a:schemeClr val="tx1"/>
              </a:solidFill>
            </a:rPr>
            <a:t>Adoption</a:t>
          </a:r>
        </a:p>
        <a:p>
          <a:pPr algn="ctr"/>
          <a:r>
            <a:rPr lang="en-GB" sz="1400" dirty="0">
              <a:solidFill>
                <a:schemeClr val="tx1"/>
              </a:solidFill>
            </a:rPr>
            <a:t>“Change Behaviours”</a:t>
          </a:r>
        </a:p>
      </dgm:t>
    </dgm:pt>
    <dgm:pt modelId="{FF213198-F8AB-48E7-B1FE-CFD91F4FA847}" type="parTrans" cxnId="{82112063-F723-4634-8530-93DF9C2809EC}">
      <dgm:prSet/>
      <dgm:spPr/>
      <dgm:t>
        <a:bodyPr/>
        <a:lstStyle/>
        <a:p>
          <a:endParaRPr lang="en-GB"/>
        </a:p>
      </dgm:t>
    </dgm:pt>
    <dgm:pt modelId="{59699AAA-D6DE-4098-B1B6-F2D74B8EB721}" type="sibTrans" cxnId="{82112063-F723-4634-8530-93DF9C2809EC}">
      <dgm:prSet/>
      <dgm:spPr/>
      <dgm:t>
        <a:bodyPr/>
        <a:lstStyle/>
        <a:p>
          <a:endParaRPr lang="en-GB"/>
        </a:p>
      </dgm:t>
    </dgm:pt>
    <dgm:pt modelId="{E6A5B1EB-5A0F-4842-9854-3ACF39C2CCAC}" type="pres">
      <dgm:prSet presAssocID="{9813FFBC-1CEE-42EA-AC62-FFC054D8C46E}" presName="rootnode" presStyleCnt="0">
        <dgm:presLayoutVars>
          <dgm:chMax/>
          <dgm:chPref/>
          <dgm:dir/>
          <dgm:animLvl val="lvl"/>
        </dgm:presLayoutVars>
      </dgm:prSet>
      <dgm:spPr/>
    </dgm:pt>
    <dgm:pt modelId="{BA346D5E-CD60-442B-A42A-F9BD8E15257D}" type="pres">
      <dgm:prSet presAssocID="{F4271238-9C86-47D2-A155-EAAB9C578927}" presName="composite" presStyleCnt="0"/>
      <dgm:spPr/>
    </dgm:pt>
    <dgm:pt modelId="{9E8B13FB-C175-43C8-9A82-D1F3806A9FD4}" type="pres">
      <dgm:prSet presAssocID="{F4271238-9C86-47D2-A155-EAAB9C578927}" presName="LShape" presStyleLbl="alignNode1" presStyleIdx="0" presStyleCnt="7"/>
      <dgm:spPr/>
    </dgm:pt>
    <dgm:pt modelId="{824A309D-CD76-47D0-9FEB-D4A4C8104933}" type="pres">
      <dgm:prSet presAssocID="{F4271238-9C86-47D2-A155-EAAB9C578927}" presName="ParentText" presStyleLbl="revTx" presStyleIdx="0" presStyleCnt="4">
        <dgm:presLayoutVars>
          <dgm:chMax val="0"/>
          <dgm:chPref val="0"/>
          <dgm:bulletEnabled val="1"/>
        </dgm:presLayoutVars>
      </dgm:prSet>
      <dgm:spPr/>
    </dgm:pt>
    <dgm:pt modelId="{A13FD09B-E81E-4C82-ABEB-743DDB7B197F}" type="pres">
      <dgm:prSet presAssocID="{F4271238-9C86-47D2-A155-EAAB9C578927}" presName="Triangle" presStyleLbl="alignNode1" presStyleIdx="1" presStyleCnt="7"/>
      <dgm:spPr/>
    </dgm:pt>
    <dgm:pt modelId="{074599AD-D9D5-4007-862C-84FC65B1BA7A}" type="pres">
      <dgm:prSet presAssocID="{EB76DEA0-12E6-4335-8D18-EAF8391333D6}" presName="sibTrans" presStyleCnt="0"/>
      <dgm:spPr/>
    </dgm:pt>
    <dgm:pt modelId="{7BA89A24-F852-430A-9636-F6BE7D335E11}" type="pres">
      <dgm:prSet presAssocID="{EB76DEA0-12E6-4335-8D18-EAF8391333D6}" presName="space" presStyleCnt="0"/>
      <dgm:spPr/>
    </dgm:pt>
    <dgm:pt modelId="{B2A71D00-65C5-4932-B343-B8FAB8A3C5DE}" type="pres">
      <dgm:prSet presAssocID="{F3BB100C-B4F8-4F04-8580-844FEEBC1122}" presName="composite" presStyleCnt="0"/>
      <dgm:spPr/>
    </dgm:pt>
    <dgm:pt modelId="{02128CB3-EB23-4448-97A8-7F6DA8EB47A5}" type="pres">
      <dgm:prSet presAssocID="{F3BB100C-B4F8-4F04-8580-844FEEBC1122}" presName="LShape" presStyleLbl="alignNode1" presStyleIdx="2" presStyleCnt="7"/>
      <dgm:spPr/>
    </dgm:pt>
    <dgm:pt modelId="{675C4198-D625-466B-BFF9-B894A694AA10}" type="pres">
      <dgm:prSet presAssocID="{F3BB100C-B4F8-4F04-8580-844FEEBC1122}" presName="ParentText" presStyleLbl="revTx" presStyleIdx="1" presStyleCnt="4">
        <dgm:presLayoutVars>
          <dgm:chMax val="0"/>
          <dgm:chPref val="0"/>
          <dgm:bulletEnabled val="1"/>
        </dgm:presLayoutVars>
      </dgm:prSet>
      <dgm:spPr/>
    </dgm:pt>
    <dgm:pt modelId="{42F54CD2-B31B-4819-913D-89EC340297F0}" type="pres">
      <dgm:prSet presAssocID="{F3BB100C-B4F8-4F04-8580-844FEEBC1122}" presName="Triangle" presStyleLbl="alignNode1" presStyleIdx="3" presStyleCnt="7"/>
      <dgm:spPr/>
    </dgm:pt>
    <dgm:pt modelId="{54B6CEC3-7BDA-4782-819D-AB1515A4AF3D}" type="pres">
      <dgm:prSet presAssocID="{9547A460-8529-4D65-9AC0-63AEB24BD40D}" presName="sibTrans" presStyleCnt="0"/>
      <dgm:spPr/>
    </dgm:pt>
    <dgm:pt modelId="{3A31A24B-2C8A-459A-A74E-E55233D0FEB5}" type="pres">
      <dgm:prSet presAssocID="{9547A460-8529-4D65-9AC0-63AEB24BD40D}" presName="space" presStyleCnt="0"/>
      <dgm:spPr/>
    </dgm:pt>
    <dgm:pt modelId="{001FBEC6-2C35-4718-881D-E1500BE4595D}" type="pres">
      <dgm:prSet presAssocID="{32E93927-1DA7-41E0-97FC-A8A42EA55892}" presName="composite" presStyleCnt="0"/>
      <dgm:spPr/>
    </dgm:pt>
    <dgm:pt modelId="{66F5A256-266D-4BE7-AFD3-BCD01C5DAD2B}" type="pres">
      <dgm:prSet presAssocID="{32E93927-1DA7-41E0-97FC-A8A42EA55892}" presName="LShape" presStyleLbl="alignNode1" presStyleIdx="4" presStyleCnt="7"/>
      <dgm:spPr/>
    </dgm:pt>
    <dgm:pt modelId="{C40F3DFB-641A-4E3F-AB78-BBB58F9DA603}" type="pres">
      <dgm:prSet presAssocID="{32E93927-1DA7-41E0-97FC-A8A42EA55892}" presName="ParentText" presStyleLbl="revTx" presStyleIdx="2" presStyleCnt="4">
        <dgm:presLayoutVars>
          <dgm:chMax val="0"/>
          <dgm:chPref val="0"/>
          <dgm:bulletEnabled val="1"/>
        </dgm:presLayoutVars>
      </dgm:prSet>
      <dgm:spPr/>
    </dgm:pt>
    <dgm:pt modelId="{81D15E99-D550-4B39-A864-34A6E38FCB65}" type="pres">
      <dgm:prSet presAssocID="{32E93927-1DA7-41E0-97FC-A8A42EA55892}" presName="Triangle" presStyleLbl="alignNode1" presStyleIdx="5" presStyleCnt="7"/>
      <dgm:spPr/>
    </dgm:pt>
    <dgm:pt modelId="{0854CD24-4313-44B2-8D24-447B456F7738}" type="pres">
      <dgm:prSet presAssocID="{4783E172-FAC7-4613-8303-E058A1335E9B}" presName="sibTrans" presStyleCnt="0"/>
      <dgm:spPr/>
    </dgm:pt>
    <dgm:pt modelId="{BA643373-58E1-4B4D-975E-64386257E5DB}" type="pres">
      <dgm:prSet presAssocID="{4783E172-FAC7-4613-8303-E058A1335E9B}" presName="space" presStyleCnt="0"/>
      <dgm:spPr/>
    </dgm:pt>
    <dgm:pt modelId="{A1E9B2DE-A3E0-4255-B176-B2C74DD5E762}" type="pres">
      <dgm:prSet presAssocID="{A0C155AC-72F7-4C3C-9444-F6C7E5715DDC}" presName="composite" presStyleCnt="0"/>
      <dgm:spPr/>
    </dgm:pt>
    <dgm:pt modelId="{4FF426B4-E48A-4252-BAAD-B02755E253BB}" type="pres">
      <dgm:prSet presAssocID="{A0C155AC-72F7-4C3C-9444-F6C7E5715DDC}" presName="LShape" presStyleLbl="alignNode1" presStyleIdx="6" presStyleCnt="7"/>
      <dgm:spPr/>
    </dgm:pt>
    <dgm:pt modelId="{47EFA488-19BB-4254-8BDC-9FD2C7E7B549}" type="pres">
      <dgm:prSet presAssocID="{A0C155AC-72F7-4C3C-9444-F6C7E5715DDC}" presName="ParentText" presStyleLbl="revTx" presStyleIdx="3" presStyleCnt="4">
        <dgm:presLayoutVars>
          <dgm:chMax val="0"/>
          <dgm:chPref val="0"/>
          <dgm:bulletEnabled val="1"/>
        </dgm:presLayoutVars>
      </dgm:prSet>
      <dgm:spPr/>
    </dgm:pt>
  </dgm:ptLst>
  <dgm:cxnLst>
    <dgm:cxn modelId="{D20CBB04-CD8B-400A-A06D-9DE099840286}" type="presOf" srcId="{F3BB100C-B4F8-4F04-8580-844FEEBC1122}" destId="{675C4198-D625-466B-BFF9-B894A694AA10}" srcOrd="0" destOrd="0" presId="urn:microsoft.com/office/officeart/2009/3/layout/StepUpProcess"/>
    <dgm:cxn modelId="{9A312B06-7C1B-48D8-BFF2-61B16551C712}" type="presOf" srcId="{F4271238-9C86-47D2-A155-EAAB9C578927}" destId="{824A309D-CD76-47D0-9FEB-D4A4C8104933}" srcOrd="0" destOrd="0" presId="urn:microsoft.com/office/officeart/2009/3/layout/StepUpProcess"/>
    <dgm:cxn modelId="{64C4F310-F4A3-4F05-B97D-EB14502D48C1}" srcId="{9813FFBC-1CEE-42EA-AC62-FFC054D8C46E}" destId="{F3BB100C-B4F8-4F04-8580-844FEEBC1122}" srcOrd="1" destOrd="0" parTransId="{A7DFACAD-B80F-4D16-95F9-9FCF183CE456}" sibTransId="{9547A460-8529-4D65-9AC0-63AEB24BD40D}"/>
    <dgm:cxn modelId="{82112063-F723-4634-8530-93DF9C2809EC}" srcId="{9813FFBC-1CEE-42EA-AC62-FFC054D8C46E}" destId="{A0C155AC-72F7-4C3C-9444-F6C7E5715DDC}" srcOrd="3" destOrd="0" parTransId="{FF213198-F8AB-48E7-B1FE-CFD91F4FA847}" sibTransId="{59699AAA-D6DE-4098-B1B6-F2D74B8EB721}"/>
    <dgm:cxn modelId="{9BAB366E-89EA-4181-9703-34BB44B3C084}" type="presOf" srcId="{A0C155AC-72F7-4C3C-9444-F6C7E5715DDC}" destId="{47EFA488-19BB-4254-8BDC-9FD2C7E7B549}" srcOrd="0" destOrd="0" presId="urn:microsoft.com/office/officeart/2009/3/layout/StepUpProcess"/>
    <dgm:cxn modelId="{F16E19A2-7E4F-41F2-B393-B5B0E7C50B9F}" type="presOf" srcId="{32E93927-1DA7-41E0-97FC-A8A42EA55892}" destId="{C40F3DFB-641A-4E3F-AB78-BBB58F9DA603}" srcOrd="0" destOrd="0" presId="urn:microsoft.com/office/officeart/2009/3/layout/StepUpProcess"/>
    <dgm:cxn modelId="{13422AC8-4083-41AD-B955-84B045E4632C}" type="presOf" srcId="{9813FFBC-1CEE-42EA-AC62-FFC054D8C46E}" destId="{E6A5B1EB-5A0F-4842-9854-3ACF39C2CCAC}" srcOrd="0" destOrd="0" presId="urn:microsoft.com/office/officeart/2009/3/layout/StepUpProcess"/>
    <dgm:cxn modelId="{C9B724F2-E63B-49E1-A66A-3D7FD1BC7762}" srcId="{9813FFBC-1CEE-42EA-AC62-FFC054D8C46E}" destId="{32E93927-1DA7-41E0-97FC-A8A42EA55892}" srcOrd="2" destOrd="0" parTransId="{5ED1F745-EC5A-42C7-9344-1743ACAE933C}" sibTransId="{4783E172-FAC7-4613-8303-E058A1335E9B}"/>
    <dgm:cxn modelId="{AC926DFA-C01C-496D-BDB8-01EB1B31C232}" srcId="{9813FFBC-1CEE-42EA-AC62-FFC054D8C46E}" destId="{F4271238-9C86-47D2-A155-EAAB9C578927}" srcOrd="0" destOrd="0" parTransId="{4BDE395A-27D3-4A16-8F21-0478BFB66361}" sibTransId="{EB76DEA0-12E6-4335-8D18-EAF8391333D6}"/>
    <dgm:cxn modelId="{577E90C6-7399-4151-B80D-78DEBE802DDD}" type="presParOf" srcId="{E6A5B1EB-5A0F-4842-9854-3ACF39C2CCAC}" destId="{BA346D5E-CD60-442B-A42A-F9BD8E15257D}" srcOrd="0" destOrd="0" presId="urn:microsoft.com/office/officeart/2009/3/layout/StepUpProcess"/>
    <dgm:cxn modelId="{68888353-9A47-4F57-91E5-A11FD7B5F27C}" type="presParOf" srcId="{BA346D5E-CD60-442B-A42A-F9BD8E15257D}" destId="{9E8B13FB-C175-43C8-9A82-D1F3806A9FD4}" srcOrd="0" destOrd="0" presId="urn:microsoft.com/office/officeart/2009/3/layout/StepUpProcess"/>
    <dgm:cxn modelId="{C9253794-15AF-4742-880C-45870987BCD7}" type="presParOf" srcId="{BA346D5E-CD60-442B-A42A-F9BD8E15257D}" destId="{824A309D-CD76-47D0-9FEB-D4A4C8104933}" srcOrd="1" destOrd="0" presId="urn:microsoft.com/office/officeart/2009/3/layout/StepUpProcess"/>
    <dgm:cxn modelId="{E45C5859-8926-4135-B8D6-2CF09400EB9B}" type="presParOf" srcId="{BA346D5E-CD60-442B-A42A-F9BD8E15257D}" destId="{A13FD09B-E81E-4C82-ABEB-743DDB7B197F}" srcOrd="2" destOrd="0" presId="urn:microsoft.com/office/officeart/2009/3/layout/StepUpProcess"/>
    <dgm:cxn modelId="{F58EA5F0-FD60-4855-8D4C-7367BC2FB5A8}" type="presParOf" srcId="{E6A5B1EB-5A0F-4842-9854-3ACF39C2CCAC}" destId="{074599AD-D9D5-4007-862C-84FC65B1BA7A}" srcOrd="1" destOrd="0" presId="urn:microsoft.com/office/officeart/2009/3/layout/StepUpProcess"/>
    <dgm:cxn modelId="{FF4F4162-8FB0-4FAF-A459-A84BAA8D244D}" type="presParOf" srcId="{074599AD-D9D5-4007-862C-84FC65B1BA7A}" destId="{7BA89A24-F852-430A-9636-F6BE7D335E11}" srcOrd="0" destOrd="0" presId="urn:microsoft.com/office/officeart/2009/3/layout/StepUpProcess"/>
    <dgm:cxn modelId="{514656DA-0875-41B0-B9BC-E2F9819797E5}" type="presParOf" srcId="{E6A5B1EB-5A0F-4842-9854-3ACF39C2CCAC}" destId="{B2A71D00-65C5-4932-B343-B8FAB8A3C5DE}" srcOrd="2" destOrd="0" presId="urn:microsoft.com/office/officeart/2009/3/layout/StepUpProcess"/>
    <dgm:cxn modelId="{26BCA42B-A583-424D-9C1E-DA350F3AAAFE}" type="presParOf" srcId="{B2A71D00-65C5-4932-B343-B8FAB8A3C5DE}" destId="{02128CB3-EB23-4448-97A8-7F6DA8EB47A5}" srcOrd="0" destOrd="0" presId="urn:microsoft.com/office/officeart/2009/3/layout/StepUpProcess"/>
    <dgm:cxn modelId="{278299A3-10EF-49AC-B4D7-DFB5EEE07F53}" type="presParOf" srcId="{B2A71D00-65C5-4932-B343-B8FAB8A3C5DE}" destId="{675C4198-D625-466B-BFF9-B894A694AA10}" srcOrd="1" destOrd="0" presId="urn:microsoft.com/office/officeart/2009/3/layout/StepUpProcess"/>
    <dgm:cxn modelId="{BF7CFFE0-68E6-442E-BB7F-E399AA4EC088}" type="presParOf" srcId="{B2A71D00-65C5-4932-B343-B8FAB8A3C5DE}" destId="{42F54CD2-B31B-4819-913D-89EC340297F0}" srcOrd="2" destOrd="0" presId="urn:microsoft.com/office/officeart/2009/3/layout/StepUpProcess"/>
    <dgm:cxn modelId="{35F54F3B-6646-4385-8948-A2ABCFA29865}" type="presParOf" srcId="{E6A5B1EB-5A0F-4842-9854-3ACF39C2CCAC}" destId="{54B6CEC3-7BDA-4782-819D-AB1515A4AF3D}" srcOrd="3" destOrd="0" presId="urn:microsoft.com/office/officeart/2009/3/layout/StepUpProcess"/>
    <dgm:cxn modelId="{19313FBD-1DCC-4798-946A-EC80FC52872C}" type="presParOf" srcId="{54B6CEC3-7BDA-4782-819D-AB1515A4AF3D}" destId="{3A31A24B-2C8A-459A-A74E-E55233D0FEB5}" srcOrd="0" destOrd="0" presId="urn:microsoft.com/office/officeart/2009/3/layout/StepUpProcess"/>
    <dgm:cxn modelId="{9DDEA218-39AE-4030-A09E-2AD98C963F25}" type="presParOf" srcId="{E6A5B1EB-5A0F-4842-9854-3ACF39C2CCAC}" destId="{001FBEC6-2C35-4718-881D-E1500BE4595D}" srcOrd="4" destOrd="0" presId="urn:microsoft.com/office/officeart/2009/3/layout/StepUpProcess"/>
    <dgm:cxn modelId="{9846AF72-BE36-47B6-A58E-83638DB9B0EE}" type="presParOf" srcId="{001FBEC6-2C35-4718-881D-E1500BE4595D}" destId="{66F5A256-266D-4BE7-AFD3-BCD01C5DAD2B}" srcOrd="0" destOrd="0" presId="urn:microsoft.com/office/officeart/2009/3/layout/StepUpProcess"/>
    <dgm:cxn modelId="{B6B61570-BB60-413D-BBC7-E8427A02B175}" type="presParOf" srcId="{001FBEC6-2C35-4718-881D-E1500BE4595D}" destId="{C40F3DFB-641A-4E3F-AB78-BBB58F9DA603}" srcOrd="1" destOrd="0" presId="urn:microsoft.com/office/officeart/2009/3/layout/StepUpProcess"/>
    <dgm:cxn modelId="{54ECABAA-71D3-43E1-9EEB-565F56A577D2}" type="presParOf" srcId="{001FBEC6-2C35-4718-881D-E1500BE4595D}" destId="{81D15E99-D550-4B39-A864-34A6E38FCB65}" srcOrd="2" destOrd="0" presId="urn:microsoft.com/office/officeart/2009/3/layout/StepUpProcess"/>
    <dgm:cxn modelId="{0F8196DC-84A5-49DA-9C41-30366DE9DBB7}" type="presParOf" srcId="{E6A5B1EB-5A0F-4842-9854-3ACF39C2CCAC}" destId="{0854CD24-4313-44B2-8D24-447B456F7738}" srcOrd="5" destOrd="0" presId="urn:microsoft.com/office/officeart/2009/3/layout/StepUpProcess"/>
    <dgm:cxn modelId="{A3883FBB-10C4-42E9-BF4A-B0ECEC36C855}" type="presParOf" srcId="{0854CD24-4313-44B2-8D24-447B456F7738}" destId="{BA643373-58E1-4B4D-975E-64386257E5DB}" srcOrd="0" destOrd="0" presId="urn:microsoft.com/office/officeart/2009/3/layout/StepUpProcess"/>
    <dgm:cxn modelId="{8E81E1AC-FE9F-4196-8CB9-B1CC12025677}" type="presParOf" srcId="{E6A5B1EB-5A0F-4842-9854-3ACF39C2CCAC}" destId="{A1E9B2DE-A3E0-4255-B176-B2C74DD5E762}" srcOrd="6" destOrd="0" presId="urn:microsoft.com/office/officeart/2009/3/layout/StepUpProcess"/>
    <dgm:cxn modelId="{C793C074-DCA2-46F8-99EB-D327572209BE}" type="presParOf" srcId="{A1E9B2DE-A3E0-4255-B176-B2C74DD5E762}" destId="{4FF426B4-E48A-4252-BAAD-B02755E253BB}" srcOrd="0" destOrd="0" presId="urn:microsoft.com/office/officeart/2009/3/layout/StepUpProcess"/>
    <dgm:cxn modelId="{B2CB7351-612E-40FA-B3F9-3764F8220581}" type="presParOf" srcId="{A1E9B2DE-A3E0-4255-B176-B2C74DD5E762}" destId="{47EFA488-19BB-4254-8BDC-9FD2C7E7B549}"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CDF30-5425-4E0B-BCCF-D8E2CDB3C8D0}"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GB"/>
        </a:p>
      </dgm:t>
    </dgm:pt>
    <dgm:pt modelId="{AEA7BDD1-52D3-4D0B-AB47-C7A3843EA572}">
      <dgm:prSet custT="1"/>
      <dgm:spPr/>
      <dgm:t>
        <a:bodyPr/>
        <a:lstStyle/>
        <a:p>
          <a:r>
            <a:rPr lang="en-GB" sz="2000" baseline="0" dirty="0"/>
            <a:t>Customer Need</a:t>
          </a:r>
          <a:endParaRPr lang="en-GB" sz="2000" dirty="0"/>
        </a:p>
      </dgm:t>
    </dgm:pt>
    <dgm:pt modelId="{B6AF35AB-42DB-40B4-997C-ECAE2127EB41}" type="parTrans" cxnId="{866725A0-A987-46FA-872B-B2ED57BB16DF}">
      <dgm:prSet/>
      <dgm:spPr/>
      <dgm:t>
        <a:bodyPr/>
        <a:lstStyle/>
        <a:p>
          <a:endParaRPr lang="en-GB"/>
        </a:p>
      </dgm:t>
    </dgm:pt>
    <dgm:pt modelId="{18140DEB-D559-488E-82A4-A6933BFB949B}" type="sibTrans" cxnId="{866725A0-A987-46FA-872B-B2ED57BB16DF}">
      <dgm:prSet/>
      <dgm:spPr/>
      <dgm:t>
        <a:bodyPr/>
        <a:lstStyle/>
        <a:p>
          <a:endParaRPr lang="en-GB"/>
        </a:p>
      </dgm:t>
    </dgm:pt>
    <dgm:pt modelId="{E9CE4648-F54B-46B3-A05D-BF88BEB8CB4B}">
      <dgm:prSet custT="1"/>
      <dgm:spPr/>
      <dgm:t>
        <a:bodyPr/>
        <a:lstStyle/>
        <a:p>
          <a:r>
            <a:rPr lang="en-GB" sz="2000" baseline="0" dirty="0"/>
            <a:t>BI Champs</a:t>
          </a:r>
          <a:endParaRPr lang="en-GB" sz="2000" dirty="0"/>
        </a:p>
      </dgm:t>
    </dgm:pt>
    <dgm:pt modelId="{C8CA2947-3DDC-4ACC-B55D-75B929425DB4}" type="parTrans" cxnId="{D763D79F-3B6D-47BF-8ED6-14CB72C59326}">
      <dgm:prSet/>
      <dgm:spPr/>
      <dgm:t>
        <a:bodyPr/>
        <a:lstStyle/>
        <a:p>
          <a:endParaRPr lang="en-GB"/>
        </a:p>
      </dgm:t>
    </dgm:pt>
    <dgm:pt modelId="{D2F36CC4-DC76-4870-97E3-588C9289DFC1}" type="sibTrans" cxnId="{D763D79F-3B6D-47BF-8ED6-14CB72C59326}">
      <dgm:prSet/>
      <dgm:spPr/>
      <dgm:t>
        <a:bodyPr/>
        <a:lstStyle/>
        <a:p>
          <a:endParaRPr lang="en-GB"/>
        </a:p>
      </dgm:t>
    </dgm:pt>
    <dgm:pt modelId="{4FFDD82C-DDB9-448B-9560-B56EAD97DFCC}">
      <dgm:prSet custT="1"/>
      <dgm:spPr/>
      <dgm:t>
        <a:bodyPr/>
        <a:lstStyle/>
        <a:p>
          <a:r>
            <a:rPr lang="en-GB" sz="2000" dirty="0"/>
            <a:t>Customer &amp; Partner Feedback</a:t>
          </a:r>
        </a:p>
      </dgm:t>
    </dgm:pt>
    <dgm:pt modelId="{3F416D44-96F9-41F2-83EE-A15595491EC4}" type="parTrans" cxnId="{E681BD69-5109-4595-9728-19D1E6759C10}">
      <dgm:prSet/>
      <dgm:spPr/>
      <dgm:t>
        <a:bodyPr/>
        <a:lstStyle/>
        <a:p>
          <a:endParaRPr lang="en-GB"/>
        </a:p>
      </dgm:t>
    </dgm:pt>
    <dgm:pt modelId="{50A90C15-5257-47B8-8F2A-D1707014284D}" type="sibTrans" cxnId="{E681BD69-5109-4595-9728-19D1E6759C10}">
      <dgm:prSet/>
      <dgm:spPr/>
      <dgm:t>
        <a:bodyPr/>
        <a:lstStyle/>
        <a:p>
          <a:endParaRPr lang="en-GB"/>
        </a:p>
      </dgm:t>
    </dgm:pt>
    <dgm:pt modelId="{A1009D32-8288-4DDF-A3BB-01E69E5F3A30}">
      <dgm:prSet custT="1"/>
      <dgm:spPr/>
      <dgm:t>
        <a:bodyPr/>
        <a:lstStyle/>
        <a:p>
          <a:r>
            <a:rPr lang="en-GB" sz="2000" baseline="0" dirty="0"/>
            <a:t>Power BI Whitepapers</a:t>
          </a:r>
          <a:endParaRPr lang="en-GB" sz="2000" dirty="0"/>
        </a:p>
      </dgm:t>
    </dgm:pt>
    <dgm:pt modelId="{41A9AB67-2922-4CED-B36B-81FAC30D053D}" type="parTrans" cxnId="{D3FAC19D-DE3F-4ED8-8872-25FFB7595164}">
      <dgm:prSet/>
      <dgm:spPr/>
      <dgm:t>
        <a:bodyPr/>
        <a:lstStyle/>
        <a:p>
          <a:endParaRPr lang="en-GB"/>
        </a:p>
      </dgm:t>
    </dgm:pt>
    <dgm:pt modelId="{484BF296-4272-4E8C-8949-4FD069688474}" type="sibTrans" cxnId="{D3FAC19D-DE3F-4ED8-8872-25FFB7595164}">
      <dgm:prSet/>
      <dgm:spPr/>
      <dgm:t>
        <a:bodyPr/>
        <a:lstStyle/>
        <a:p>
          <a:endParaRPr lang="en-GB"/>
        </a:p>
      </dgm:t>
    </dgm:pt>
    <dgm:pt modelId="{A9AD7C3E-54C6-4B6E-AE63-09FD7DF8E29C}">
      <dgm:prSet custT="1"/>
      <dgm:spPr/>
      <dgm:t>
        <a:bodyPr/>
        <a:lstStyle/>
        <a:p>
          <a:r>
            <a:rPr lang="en-GB" sz="2000" dirty="0"/>
            <a:t>Power BI Product Group</a:t>
          </a:r>
        </a:p>
      </dgm:t>
    </dgm:pt>
    <dgm:pt modelId="{E4E8BC7A-F5CD-41C7-8775-5AA6EB2AA62B}" type="parTrans" cxnId="{74B986A1-B5AF-4CE8-9134-4731FB5A3561}">
      <dgm:prSet/>
      <dgm:spPr/>
      <dgm:t>
        <a:bodyPr/>
        <a:lstStyle/>
        <a:p>
          <a:endParaRPr lang="en-GB"/>
        </a:p>
      </dgm:t>
    </dgm:pt>
    <dgm:pt modelId="{E4457E0B-7168-4048-BE4C-9F1D7AE9F4A6}" type="sibTrans" cxnId="{74B986A1-B5AF-4CE8-9134-4731FB5A3561}">
      <dgm:prSet/>
      <dgm:spPr/>
      <dgm:t>
        <a:bodyPr/>
        <a:lstStyle/>
        <a:p>
          <a:endParaRPr lang="en-GB"/>
        </a:p>
      </dgm:t>
    </dgm:pt>
    <dgm:pt modelId="{C6668AB2-7831-4CC4-B25A-AA8DA5BD80FF}">
      <dgm:prSet custT="1"/>
      <dgm:spPr/>
      <dgm:t>
        <a:bodyPr/>
        <a:lstStyle/>
        <a:p>
          <a:r>
            <a:rPr lang="en-GB" sz="2000" baseline="0"/>
            <a:t>BI </a:t>
          </a:r>
          <a:r>
            <a:rPr lang="en-GB" sz="2000" baseline="0" dirty="0"/>
            <a:t>@ Microsoft</a:t>
          </a:r>
          <a:endParaRPr lang="en-GB" sz="2000" dirty="0"/>
        </a:p>
      </dgm:t>
    </dgm:pt>
    <dgm:pt modelId="{0928A6F2-3B70-4A34-A2C2-A8B155072E10}" type="parTrans" cxnId="{CCDC5CCF-7D9F-4CDE-A100-2A98B04F5432}">
      <dgm:prSet/>
      <dgm:spPr/>
      <dgm:t>
        <a:bodyPr/>
        <a:lstStyle/>
        <a:p>
          <a:endParaRPr lang="en-GB"/>
        </a:p>
      </dgm:t>
    </dgm:pt>
    <dgm:pt modelId="{2B794E89-40B2-4F64-8F86-BC58B6553559}" type="sibTrans" cxnId="{CCDC5CCF-7D9F-4CDE-A100-2A98B04F5432}">
      <dgm:prSet/>
      <dgm:spPr/>
      <dgm:t>
        <a:bodyPr/>
        <a:lstStyle/>
        <a:p>
          <a:endParaRPr lang="en-GB"/>
        </a:p>
      </dgm:t>
    </dgm:pt>
    <dgm:pt modelId="{5947C614-F619-4B91-8922-ACF7C0389E08}" type="pres">
      <dgm:prSet presAssocID="{733CDF30-5425-4E0B-BCCF-D8E2CDB3C8D0}" presName="diagram" presStyleCnt="0">
        <dgm:presLayoutVars>
          <dgm:dir/>
          <dgm:resizeHandles val="exact"/>
        </dgm:presLayoutVars>
      </dgm:prSet>
      <dgm:spPr/>
    </dgm:pt>
    <dgm:pt modelId="{E5DB8780-D17C-47A7-BFE5-A859BFC90A92}" type="pres">
      <dgm:prSet presAssocID="{AEA7BDD1-52D3-4D0B-AB47-C7A3843EA572}" presName="node" presStyleLbl="node1" presStyleIdx="0" presStyleCnt="6">
        <dgm:presLayoutVars>
          <dgm:bulletEnabled val="1"/>
        </dgm:presLayoutVars>
      </dgm:prSet>
      <dgm:spPr/>
    </dgm:pt>
    <dgm:pt modelId="{57DBF1A2-0F5F-4602-B65E-56BF4D882072}" type="pres">
      <dgm:prSet presAssocID="{18140DEB-D559-488E-82A4-A6933BFB949B}" presName="sibTrans" presStyleCnt="0"/>
      <dgm:spPr/>
    </dgm:pt>
    <dgm:pt modelId="{321E2A76-903A-49F9-8AD7-9C8DCAC8DC0F}" type="pres">
      <dgm:prSet presAssocID="{A1009D32-8288-4DDF-A3BB-01E69E5F3A30}" presName="node" presStyleLbl="node1" presStyleIdx="1" presStyleCnt="6">
        <dgm:presLayoutVars>
          <dgm:bulletEnabled val="1"/>
        </dgm:presLayoutVars>
      </dgm:prSet>
      <dgm:spPr/>
    </dgm:pt>
    <dgm:pt modelId="{96FAC505-284B-43E2-A00C-71B8558421ED}" type="pres">
      <dgm:prSet presAssocID="{484BF296-4272-4E8C-8949-4FD069688474}" presName="sibTrans" presStyleCnt="0"/>
      <dgm:spPr/>
    </dgm:pt>
    <dgm:pt modelId="{0EB88D22-9476-489B-94B3-4A9139D99A7E}" type="pres">
      <dgm:prSet presAssocID="{A9AD7C3E-54C6-4B6E-AE63-09FD7DF8E29C}" presName="node" presStyleLbl="node1" presStyleIdx="2" presStyleCnt="6">
        <dgm:presLayoutVars>
          <dgm:bulletEnabled val="1"/>
        </dgm:presLayoutVars>
      </dgm:prSet>
      <dgm:spPr/>
    </dgm:pt>
    <dgm:pt modelId="{4E5CCDCB-7243-458C-BF49-3F4723CAB189}" type="pres">
      <dgm:prSet presAssocID="{E4457E0B-7168-4048-BE4C-9F1D7AE9F4A6}" presName="sibTrans" presStyleCnt="0"/>
      <dgm:spPr/>
    </dgm:pt>
    <dgm:pt modelId="{5B96E3A4-F3F2-45A8-9730-FC402A2A87C8}" type="pres">
      <dgm:prSet presAssocID="{E9CE4648-F54B-46B3-A05D-BF88BEB8CB4B}" presName="node" presStyleLbl="node1" presStyleIdx="3" presStyleCnt="6">
        <dgm:presLayoutVars>
          <dgm:bulletEnabled val="1"/>
        </dgm:presLayoutVars>
      </dgm:prSet>
      <dgm:spPr/>
    </dgm:pt>
    <dgm:pt modelId="{F9A59062-F820-44E3-BA7F-62E38CF66A59}" type="pres">
      <dgm:prSet presAssocID="{D2F36CC4-DC76-4870-97E3-588C9289DFC1}" presName="sibTrans" presStyleCnt="0"/>
      <dgm:spPr/>
    </dgm:pt>
    <dgm:pt modelId="{1E93BFFE-632C-406D-A7EB-B2A7ED8EE135}" type="pres">
      <dgm:prSet presAssocID="{C6668AB2-7831-4CC4-B25A-AA8DA5BD80FF}" presName="node" presStyleLbl="node1" presStyleIdx="4" presStyleCnt="6">
        <dgm:presLayoutVars>
          <dgm:bulletEnabled val="1"/>
        </dgm:presLayoutVars>
      </dgm:prSet>
      <dgm:spPr/>
    </dgm:pt>
    <dgm:pt modelId="{B3426BC5-9A4C-4FAD-91FE-E40507FC9832}" type="pres">
      <dgm:prSet presAssocID="{2B794E89-40B2-4F64-8F86-BC58B6553559}" presName="sibTrans" presStyleCnt="0"/>
      <dgm:spPr/>
    </dgm:pt>
    <dgm:pt modelId="{79D869E6-DB54-4DE4-947C-09BA4B769405}" type="pres">
      <dgm:prSet presAssocID="{4FFDD82C-DDB9-448B-9560-B56EAD97DFCC}" presName="node" presStyleLbl="node1" presStyleIdx="5" presStyleCnt="6">
        <dgm:presLayoutVars>
          <dgm:bulletEnabled val="1"/>
        </dgm:presLayoutVars>
      </dgm:prSet>
      <dgm:spPr/>
    </dgm:pt>
  </dgm:ptLst>
  <dgm:cxnLst>
    <dgm:cxn modelId="{02FA7429-4EE8-4922-8F7B-1C9481B89102}" type="presOf" srcId="{A9AD7C3E-54C6-4B6E-AE63-09FD7DF8E29C}" destId="{0EB88D22-9476-489B-94B3-4A9139D99A7E}" srcOrd="0" destOrd="0" presId="urn:microsoft.com/office/officeart/2005/8/layout/default"/>
    <dgm:cxn modelId="{4454B962-88EF-4957-8682-7938BFE192A2}" type="presOf" srcId="{C6668AB2-7831-4CC4-B25A-AA8DA5BD80FF}" destId="{1E93BFFE-632C-406D-A7EB-B2A7ED8EE135}" srcOrd="0" destOrd="0" presId="urn:microsoft.com/office/officeart/2005/8/layout/default"/>
    <dgm:cxn modelId="{E681BD69-5109-4595-9728-19D1E6759C10}" srcId="{733CDF30-5425-4E0B-BCCF-D8E2CDB3C8D0}" destId="{4FFDD82C-DDB9-448B-9560-B56EAD97DFCC}" srcOrd="5" destOrd="0" parTransId="{3F416D44-96F9-41F2-83EE-A15595491EC4}" sibTransId="{50A90C15-5257-47B8-8F2A-D1707014284D}"/>
    <dgm:cxn modelId="{2473A84E-B0C6-4D86-81F9-480E76414D27}" type="presOf" srcId="{AEA7BDD1-52D3-4D0B-AB47-C7A3843EA572}" destId="{E5DB8780-D17C-47A7-BFE5-A859BFC90A92}" srcOrd="0" destOrd="0" presId="urn:microsoft.com/office/officeart/2005/8/layout/default"/>
    <dgm:cxn modelId="{A97B0F55-5538-430C-8AAE-E9CC97E08EE2}" type="presOf" srcId="{E9CE4648-F54B-46B3-A05D-BF88BEB8CB4B}" destId="{5B96E3A4-F3F2-45A8-9730-FC402A2A87C8}" srcOrd="0" destOrd="0" presId="urn:microsoft.com/office/officeart/2005/8/layout/default"/>
    <dgm:cxn modelId="{EBC80A82-98CA-4B5A-BDAD-A26B13567B0F}" type="presOf" srcId="{733CDF30-5425-4E0B-BCCF-D8E2CDB3C8D0}" destId="{5947C614-F619-4B91-8922-ACF7C0389E08}" srcOrd="0" destOrd="0" presId="urn:microsoft.com/office/officeart/2005/8/layout/default"/>
    <dgm:cxn modelId="{D3FAC19D-DE3F-4ED8-8872-25FFB7595164}" srcId="{733CDF30-5425-4E0B-BCCF-D8E2CDB3C8D0}" destId="{A1009D32-8288-4DDF-A3BB-01E69E5F3A30}" srcOrd="1" destOrd="0" parTransId="{41A9AB67-2922-4CED-B36B-81FAC30D053D}" sibTransId="{484BF296-4272-4E8C-8949-4FD069688474}"/>
    <dgm:cxn modelId="{D763D79F-3B6D-47BF-8ED6-14CB72C59326}" srcId="{733CDF30-5425-4E0B-BCCF-D8E2CDB3C8D0}" destId="{E9CE4648-F54B-46B3-A05D-BF88BEB8CB4B}" srcOrd="3" destOrd="0" parTransId="{C8CA2947-3DDC-4ACC-B55D-75B929425DB4}" sibTransId="{D2F36CC4-DC76-4870-97E3-588C9289DFC1}"/>
    <dgm:cxn modelId="{866725A0-A987-46FA-872B-B2ED57BB16DF}" srcId="{733CDF30-5425-4E0B-BCCF-D8E2CDB3C8D0}" destId="{AEA7BDD1-52D3-4D0B-AB47-C7A3843EA572}" srcOrd="0" destOrd="0" parTransId="{B6AF35AB-42DB-40B4-997C-ECAE2127EB41}" sibTransId="{18140DEB-D559-488E-82A4-A6933BFB949B}"/>
    <dgm:cxn modelId="{74B986A1-B5AF-4CE8-9134-4731FB5A3561}" srcId="{733CDF30-5425-4E0B-BCCF-D8E2CDB3C8D0}" destId="{A9AD7C3E-54C6-4B6E-AE63-09FD7DF8E29C}" srcOrd="2" destOrd="0" parTransId="{E4E8BC7A-F5CD-41C7-8775-5AA6EB2AA62B}" sibTransId="{E4457E0B-7168-4048-BE4C-9F1D7AE9F4A6}"/>
    <dgm:cxn modelId="{CCDC5CCF-7D9F-4CDE-A100-2A98B04F5432}" srcId="{733CDF30-5425-4E0B-BCCF-D8E2CDB3C8D0}" destId="{C6668AB2-7831-4CC4-B25A-AA8DA5BD80FF}" srcOrd="4" destOrd="0" parTransId="{0928A6F2-3B70-4A34-A2C2-A8B155072E10}" sibTransId="{2B794E89-40B2-4F64-8F86-BC58B6553559}"/>
    <dgm:cxn modelId="{FF0700EA-3AB2-4A0B-8B09-1EA2F0F51B93}" type="presOf" srcId="{4FFDD82C-DDB9-448B-9560-B56EAD97DFCC}" destId="{79D869E6-DB54-4DE4-947C-09BA4B769405}" srcOrd="0" destOrd="0" presId="urn:microsoft.com/office/officeart/2005/8/layout/default"/>
    <dgm:cxn modelId="{26658AEC-C8D1-4EBA-B276-FC82B6FE74E9}" type="presOf" srcId="{A1009D32-8288-4DDF-A3BB-01E69E5F3A30}" destId="{321E2A76-903A-49F9-8AD7-9C8DCAC8DC0F}" srcOrd="0" destOrd="0" presId="urn:microsoft.com/office/officeart/2005/8/layout/default"/>
    <dgm:cxn modelId="{29516C90-97D6-4099-9CB2-99DB2F80EF93}" type="presParOf" srcId="{5947C614-F619-4B91-8922-ACF7C0389E08}" destId="{E5DB8780-D17C-47A7-BFE5-A859BFC90A92}" srcOrd="0" destOrd="0" presId="urn:microsoft.com/office/officeart/2005/8/layout/default"/>
    <dgm:cxn modelId="{27AF78BE-2CBE-421F-8EF3-C69D09E5B591}" type="presParOf" srcId="{5947C614-F619-4B91-8922-ACF7C0389E08}" destId="{57DBF1A2-0F5F-4602-B65E-56BF4D882072}" srcOrd="1" destOrd="0" presId="urn:microsoft.com/office/officeart/2005/8/layout/default"/>
    <dgm:cxn modelId="{C2D7302D-AB8F-495C-A1AC-CA5A75E5BBF4}" type="presParOf" srcId="{5947C614-F619-4B91-8922-ACF7C0389E08}" destId="{321E2A76-903A-49F9-8AD7-9C8DCAC8DC0F}" srcOrd="2" destOrd="0" presId="urn:microsoft.com/office/officeart/2005/8/layout/default"/>
    <dgm:cxn modelId="{147F0115-FDB2-4C4F-89CA-3F17DC45D4F4}" type="presParOf" srcId="{5947C614-F619-4B91-8922-ACF7C0389E08}" destId="{96FAC505-284B-43E2-A00C-71B8558421ED}" srcOrd="3" destOrd="0" presId="urn:microsoft.com/office/officeart/2005/8/layout/default"/>
    <dgm:cxn modelId="{4F2E3C60-D5CB-4E17-8280-D259FCD65B44}" type="presParOf" srcId="{5947C614-F619-4B91-8922-ACF7C0389E08}" destId="{0EB88D22-9476-489B-94B3-4A9139D99A7E}" srcOrd="4" destOrd="0" presId="urn:microsoft.com/office/officeart/2005/8/layout/default"/>
    <dgm:cxn modelId="{FEEA356A-BB4C-4852-9E14-B3282975DA7F}" type="presParOf" srcId="{5947C614-F619-4B91-8922-ACF7C0389E08}" destId="{4E5CCDCB-7243-458C-BF49-3F4723CAB189}" srcOrd="5" destOrd="0" presId="urn:microsoft.com/office/officeart/2005/8/layout/default"/>
    <dgm:cxn modelId="{997D2689-C51C-4146-9B63-AEF00546B901}" type="presParOf" srcId="{5947C614-F619-4B91-8922-ACF7C0389E08}" destId="{5B96E3A4-F3F2-45A8-9730-FC402A2A87C8}" srcOrd="6" destOrd="0" presId="urn:microsoft.com/office/officeart/2005/8/layout/default"/>
    <dgm:cxn modelId="{B86727CD-A037-403E-80A8-D3EF29F19E8F}" type="presParOf" srcId="{5947C614-F619-4B91-8922-ACF7C0389E08}" destId="{F9A59062-F820-44E3-BA7F-62E38CF66A59}" srcOrd="7" destOrd="0" presId="urn:microsoft.com/office/officeart/2005/8/layout/default"/>
    <dgm:cxn modelId="{99BE69F3-79FB-4172-9F70-05402D23550B}" type="presParOf" srcId="{5947C614-F619-4B91-8922-ACF7C0389E08}" destId="{1E93BFFE-632C-406D-A7EB-B2A7ED8EE135}" srcOrd="8" destOrd="0" presId="urn:microsoft.com/office/officeart/2005/8/layout/default"/>
    <dgm:cxn modelId="{92FC60D5-8073-41B4-ACF2-F4213E7D4C64}" type="presParOf" srcId="{5947C614-F619-4B91-8922-ACF7C0389E08}" destId="{B3426BC5-9A4C-4FAD-91FE-E40507FC9832}" srcOrd="9" destOrd="0" presId="urn:microsoft.com/office/officeart/2005/8/layout/default"/>
    <dgm:cxn modelId="{B5B36636-A506-4629-AB17-EF287031A12F}" type="presParOf" srcId="{5947C614-F619-4B91-8922-ACF7C0389E08}" destId="{79D869E6-DB54-4DE4-947C-09BA4B76940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kern="1200" dirty="0">
              <a:latin typeface="+mj-lt"/>
              <a:ea typeface="+mn-ea"/>
              <a:cs typeface="+mn-cs"/>
            </a:rPr>
            <a:t>Select</a:t>
          </a:r>
          <a:r>
            <a:rPr lang="en-US" sz="2000" kern="1200" dirty="0">
              <a:latin typeface="+mj-lt"/>
            </a:rPr>
            <a:t> a Project</a:t>
          </a:r>
          <a:endParaRPr lang="en-GB" sz="2000" kern="1200" dirty="0">
            <a:latin typeface="+mj-lt"/>
          </a:endParaRP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351685A1-7CCC-413C-BF4A-DE428F00B31F}">
      <dgm:prSet custT="1"/>
      <dgm:spPr/>
      <dgm:t>
        <a:bodyPr/>
        <a:lstStyle/>
        <a:p>
          <a:r>
            <a:rPr lang="en-US" sz="2000" dirty="0">
              <a:latin typeface="+mj-lt"/>
            </a:rPr>
            <a:t>Adoption workshop</a:t>
          </a:r>
          <a:endParaRPr lang="en-GB" sz="2000" dirty="0">
            <a:latin typeface="+mj-lt"/>
          </a:endParaRPr>
        </a:p>
      </dgm:t>
    </dgm:pt>
    <dgm:pt modelId="{F3B02E05-A27B-4A39-8673-CE2321A47E00}" type="parTrans" cxnId="{88E5E522-0F78-49B3-80D6-806803760FEE}">
      <dgm:prSet/>
      <dgm:spPr/>
      <dgm:t>
        <a:bodyPr/>
        <a:lstStyle/>
        <a:p>
          <a:endParaRPr lang="en-GB"/>
        </a:p>
      </dgm:t>
    </dgm:pt>
    <dgm:pt modelId="{052881C3-23E8-42B6-AE7C-0CF3789CD06E}" type="sibTrans" cxnId="{88E5E522-0F78-49B3-80D6-806803760FEE}">
      <dgm:prSet/>
      <dgm:spPr/>
      <dgm:t>
        <a:bodyPr/>
        <a:lstStyle/>
        <a:p>
          <a:endParaRPr lang="en-GB"/>
        </a:p>
      </dgm:t>
    </dgm:pt>
    <dgm:pt modelId="{766A0285-AAB2-4C5A-9419-39216F8FC59D}">
      <dgm:prSet custT="1"/>
      <dgm:spPr/>
      <dgm:t>
        <a:bodyPr/>
        <a:lstStyle/>
        <a:p>
          <a:r>
            <a:rPr lang="en-US" sz="2000" dirty="0">
              <a:latin typeface="+mj-lt"/>
            </a:rPr>
            <a:t>Address data quality </a:t>
          </a:r>
          <a:endParaRPr lang="en-GB" sz="2000" dirty="0">
            <a:latin typeface="+mj-lt"/>
          </a:endParaRPr>
        </a:p>
      </dgm:t>
    </dgm:pt>
    <dgm:pt modelId="{E3C62953-DC9A-43D1-A1FF-E3C683CE6F39}" type="parTrans" cxnId="{67AD044D-06E0-4DFF-8DCD-0B883C9F680F}">
      <dgm:prSet/>
      <dgm:spPr/>
      <dgm:t>
        <a:bodyPr/>
        <a:lstStyle/>
        <a:p>
          <a:endParaRPr lang="en-GB"/>
        </a:p>
      </dgm:t>
    </dgm:pt>
    <dgm:pt modelId="{FBC0A3B5-F580-40D6-AB74-F3B531A08C8B}" type="sibTrans" cxnId="{67AD044D-06E0-4DFF-8DCD-0B883C9F680F}">
      <dgm:prSet/>
      <dgm:spPr/>
      <dgm:t>
        <a:bodyPr/>
        <a:lstStyle/>
        <a:p>
          <a:endParaRPr lang="en-GB"/>
        </a:p>
      </dgm:t>
    </dgm:pt>
    <dgm:pt modelId="{E82AA0E8-0879-4680-86E2-CD48AE303C2B}">
      <dgm:prSet custT="1"/>
      <dgm:spPr/>
      <dgm:t>
        <a:bodyPr/>
        <a:lstStyle/>
        <a:p>
          <a:r>
            <a:rPr lang="en-US" sz="2000" dirty="0">
              <a:latin typeface="+mj-lt"/>
            </a:rPr>
            <a:t>Implement Project</a:t>
          </a:r>
          <a:endParaRPr lang="en-GB" sz="2000" dirty="0">
            <a:latin typeface="+mj-lt"/>
          </a:endParaRPr>
        </a:p>
      </dgm:t>
    </dgm:pt>
    <dgm:pt modelId="{C42A3F8B-F41C-407C-B7AF-901AD867A0EC}" type="parTrans" cxnId="{00A87E88-282A-4061-88EE-06ACCEFFE62A}">
      <dgm:prSet/>
      <dgm:spPr/>
      <dgm:t>
        <a:bodyPr/>
        <a:lstStyle/>
        <a:p>
          <a:endParaRPr lang="en-GB"/>
        </a:p>
      </dgm:t>
    </dgm:pt>
    <dgm:pt modelId="{50097FF9-21C5-47BF-9A40-BDB777645148}" type="sibTrans" cxnId="{00A87E88-282A-4061-88EE-06ACCEFFE62A}">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0F3C6A10-43E4-4BC1-849F-716A9D7D7064}" type="pres">
      <dgm:prSet presAssocID="{351685A1-7CCC-413C-BF4A-DE428F00B31F}" presName="hierRoot1" presStyleCnt="0">
        <dgm:presLayoutVars>
          <dgm:hierBranch val="init"/>
        </dgm:presLayoutVars>
      </dgm:prSet>
      <dgm:spPr/>
    </dgm:pt>
    <dgm:pt modelId="{26D78FE9-689F-4663-AD3F-63D4D8B6C0C5}" type="pres">
      <dgm:prSet presAssocID="{351685A1-7CCC-413C-BF4A-DE428F00B31F}" presName="rootComposite1" presStyleCnt="0"/>
      <dgm:spPr/>
    </dgm:pt>
    <dgm:pt modelId="{5DB35AF2-9F99-41D1-8632-C9180952D400}" type="pres">
      <dgm:prSet presAssocID="{351685A1-7CCC-413C-BF4A-DE428F00B31F}" presName="rootText1" presStyleLbl="node0" presStyleIdx="1" presStyleCnt="4">
        <dgm:presLayoutVars>
          <dgm:chPref val="3"/>
        </dgm:presLayoutVars>
      </dgm:prSet>
      <dgm:spPr/>
    </dgm:pt>
    <dgm:pt modelId="{0C3F6E97-B6A1-4AB0-999E-809A2DD9458F}" type="pres">
      <dgm:prSet presAssocID="{351685A1-7CCC-413C-BF4A-DE428F00B31F}" presName="rootConnector1" presStyleLbl="node1" presStyleIdx="0" presStyleCnt="0"/>
      <dgm:spPr/>
    </dgm:pt>
    <dgm:pt modelId="{638A00AB-86A0-4F47-8A78-404B5D8F73B4}" type="pres">
      <dgm:prSet presAssocID="{351685A1-7CCC-413C-BF4A-DE428F00B31F}" presName="hierChild2" presStyleCnt="0"/>
      <dgm:spPr/>
    </dgm:pt>
    <dgm:pt modelId="{31CCB16D-1F93-4A39-AABB-69C977B297B1}" type="pres">
      <dgm:prSet presAssocID="{351685A1-7CCC-413C-BF4A-DE428F00B31F}" presName="hierChild3" presStyleCnt="0"/>
      <dgm:spPr/>
    </dgm:pt>
    <dgm:pt modelId="{01339B95-88B7-4F4F-A457-9F4D8AE543CB}" type="pres">
      <dgm:prSet presAssocID="{766A0285-AAB2-4C5A-9419-39216F8FC59D}" presName="hierRoot1" presStyleCnt="0">
        <dgm:presLayoutVars>
          <dgm:hierBranch val="init"/>
        </dgm:presLayoutVars>
      </dgm:prSet>
      <dgm:spPr/>
    </dgm:pt>
    <dgm:pt modelId="{FC539C55-36ED-4A1F-B51A-730B064D091F}" type="pres">
      <dgm:prSet presAssocID="{766A0285-AAB2-4C5A-9419-39216F8FC59D}" presName="rootComposite1" presStyleCnt="0"/>
      <dgm:spPr/>
    </dgm:pt>
    <dgm:pt modelId="{CEF4917A-2583-498A-ACAC-CF0D58E8F0A6}" type="pres">
      <dgm:prSet presAssocID="{766A0285-AAB2-4C5A-9419-39216F8FC59D}" presName="rootText1" presStyleLbl="node0" presStyleIdx="2" presStyleCnt="4">
        <dgm:presLayoutVars>
          <dgm:chPref val="3"/>
        </dgm:presLayoutVars>
      </dgm:prSet>
      <dgm:spPr/>
    </dgm:pt>
    <dgm:pt modelId="{76A1B028-0264-4306-B668-81F10E56A238}" type="pres">
      <dgm:prSet presAssocID="{766A0285-AAB2-4C5A-9419-39216F8FC59D}" presName="rootConnector1" presStyleLbl="node1" presStyleIdx="0" presStyleCnt="0"/>
      <dgm:spPr/>
    </dgm:pt>
    <dgm:pt modelId="{5E3F62F6-1369-43F7-BBED-E61685CA3D5A}" type="pres">
      <dgm:prSet presAssocID="{766A0285-AAB2-4C5A-9419-39216F8FC59D}" presName="hierChild2" presStyleCnt="0"/>
      <dgm:spPr/>
    </dgm:pt>
    <dgm:pt modelId="{DCD935AD-C0AE-407B-8CCD-5F7F163AEAE0}" type="pres">
      <dgm:prSet presAssocID="{766A0285-AAB2-4C5A-9419-39216F8FC59D}" presName="hierChild3" presStyleCnt="0"/>
      <dgm:spPr/>
    </dgm:pt>
    <dgm:pt modelId="{E4966682-1B60-46A0-9CCF-0D5AF3EC0080}" type="pres">
      <dgm:prSet presAssocID="{E82AA0E8-0879-4680-86E2-CD48AE303C2B}" presName="hierRoot1" presStyleCnt="0">
        <dgm:presLayoutVars>
          <dgm:hierBranch val="init"/>
        </dgm:presLayoutVars>
      </dgm:prSet>
      <dgm:spPr/>
    </dgm:pt>
    <dgm:pt modelId="{64B0E16F-C4F4-4A55-9E9B-6C8A8C37FC29}" type="pres">
      <dgm:prSet presAssocID="{E82AA0E8-0879-4680-86E2-CD48AE303C2B}" presName="rootComposite1" presStyleCnt="0"/>
      <dgm:spPr/>
    </dgm:pt>
    <dgm:pt modelId="{477157D4-E55E-4D4B-941F-24801F1D36AC}" type="pres">
      <dgm:prSet presAssocID="{E82AA0E8-0879-4680-86E2-CD48AE303C2B}" presName="rootText1" presStyleLbl="node0" presStyleIdx="3" presStyleCnt="4">
        <dgm:presLayoutVars>
          <dgm:chPref val="3"/>
        </dgm:presLayoutVars>
      </dgm:prSet>
      <dgm:spPr/>
    </dgm:pt>
    <dgm:pt modelId="{593BDACD-F4D9-4D1C-8240-97878CE4C00F}" type="pres">
      <dgm:prSet presAssocID="{E82AA0E8-0879-4680-86E2-CD48AE303C2B}" presName="rootConnector1" presStyleLbl="node1" presStyleIdx="0" presStyleCnt="0"/>
      <dgm:spPr/>
    </dgm:pt>
    <dgm:pt modelId="{DDE6D04B-90BD-4DA5-AFA7-464662047F49}" type="pres">
      <dgm:prSet presAssocID="{E82AA0E8-0879-4680-86E2-CD48AE303C2B}" presName="hierChild2" presStyleCnt="0"/>
      <dgm:spPr/>
    </dgm:pt>
    <dgm:pt modelId="{85371274-E265-48D9-8050-B0806DE30CCE}" type="pres">
      <dgm:prSet presAssocID="{E82AA0E8-0879-4680-86E2-CD48AE303C2B}" presName="hierChild3" presStyleCnt="0"/>
      <dgm:spPr/>
    </dgm:pt>
  </dgm:ptLst>
  <dgm:cxnLst>
    <dgm:cxn modelId="{88E5E522-0F78-49B3-80D6-806803760FEE}" srcId="{708AF9BC-243E-4B3A-9C1B-BC1BA44B4E55}" destId="{351685A1-7CCC-413C-BF4A-DE428F00B31F}" srcOrd="1" destOrd="0" parTransId="{F3B02E05-A27B-4A39-8673-CE2321A47E00}" sibTransId="{052881C3-23E8-42B6-AE7C-0CF3789CD06E}"/>
    <dgm:cxn modelId="{ACBC8439-A3BD-49D4-9F6B-CFC48A87F6AB}" type="presOf" srcId="{E82AA0E8-0879-4680-86E2-CD48AE303C2B}" destId="{477157D4-E55E-4D4B-941F-24801F1D36AC}" srcOrd="0" destOrd="0" presId="urn:microsoft.com/office/officeart/2005/8/layout/orgChart1"/>
    <dgm:cxn modelId="{20775B4B-A4B3-4869-BE8B-7D496CA7FB0E}" type="presOf" srcId="{351685A1-7CCC-413C-BF4A-DE428F00B31F}" destId="{0C3F6E97-B6A1-4AB0-999E-809A2DD9458F}" srcOrd="1" destOrd="0" presId="urn:microsoft.com/office/officeart/2005/8/layout/orgChart1"/>
    <dgm:cxn modelId="{67AD044D-06E0-4DFF-8DCD-0B883C9F680F}" srcId="{708AF9BC-243E-4B3A-9C1B-BC1BA44B4E55}" destId="{766A0285-AAB2-4C5A-9419-39216F8FC59D}" srcOrd="2" destOrd="0" parTransId="{E3C62953-DC9A-43D1-A1FF-E3C683CE6F39}" sibTransId="{FBC0A3B5-F580-40D6-AB74-F3B531A08C8B}"/>
    <dgm:cxn modelId="{1F5DEF6E-47F1-4129-808B-05777FCB67FC}" type="presOf" srcId="{708AF9BC-243E-4B3A-9C1B-BC1BA44B4E55}" destId="{882847BB-1BFC-4BB3-8D09-D08D54568650}" srcOrd="0" destOrd="0" presId="urn:microsoft.com/office/officeart/2005/8/layout/orgChart1"/>
    <dgm:cxn modelId="{00A87E88-282A-4061-88EE-06ACCEFFE62A}" srcId="{708AF9BC-243E-4B3A-9C1B-BC1BA44B4E55}" destId="{E82AA0E8-0879-4680-86E2-CD48AE303C2B}" srcOrd="3" destOrd="0" parTransId="{C42A3F8B-F41C-407C-B7AF-901AD867A0EC}" sibTransId="{50097FF9-21C5-47BF-9A40-BDB777645148}"/>
    <dgm:cxn modelId="{ED7B5991-E9B3-4DBC-AECA-36A771E1C211}" type="presOf" srcId="{4172ACCF-6BB7-459A-817E-82DBD49B6C73}" destId="{76AAF56F-D4D7-4577-94A9-CDD5DC0599FE}" srcOrd="0" destOrd="0" presId="urn:microsoft.com/office/officeart/2005/8/layout/orgChart1"/>
    <dgm:cxn modelId="{0F9BD7AE-41BE-4A64-8867-5EFCBBB58282}" type="presOf" srcId="{E82AA0E8-0879-4680-86E2-CD48AE303C2B}" destId="{593BDACD-F4D9-4D1C-8240-97878CE4C00F}" srcOrd="1" destOrd="0" presId="urn:microsoft.com/office/officeart/2005/8/layout/orgChart1"/>
    <dgm:cxn modelId="{70FADBC1-74A3-41AF-B5F6-E353EF3F9F16}" type="presOf" srcId="{351685A1-7CCC-413C-BF4A-DE428F00B31F}" destId="{5DB35AF2-9F99-41D1-8632-C9180952D400}" srcOrd="0"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DEE994E3-0851-4B26-AB03-32F16DFE4211}" type="presOf" srcId="{766A0285-AAB2-4C5A-9419-39216F8FC59D}" destId="{CEF4917A-2583-498A-ACAC-CF0D58E8F0A6}" srcOrd="0" destOrd="0" presId="urn:microsoft.com/office/officeart/2005/8/layout/orgChart1"/>
    <dgm:cxn modelId="{1FD014F8-488A-4288-8A06-A811840DECD4}" type="presOf" srcId="{766A0285-AAB2-4C5A-9419-39216F8FC59D}" destId="{76A1B028-0264-4306-B668-81F10E56A238}"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FE3ABFB8-2C5B-40AE-B97E-DBC78E913292}" type="presParOf" srcId="{882847BB-1BFC-4BB3-8D09-D08D54568650}" destId="{0F3C6A10-43E4-4BC1-849F-716A9D7D7064}" srcOrd="1" destOrd="0" presId="urn:microsoft.com/office/officeart/2005/8/layout/orgChart1"/>
    <dgm:cxn modelId="{C3AD5BA0-F4C6-4166-A3A4-3702765263B2}" type="presParOf" srcId="{0F3C6A10-43E4-4BC1-849F-716A9D7D7064}" destId="{26D78FE9-689F-4663-AD3F-63D4D8B6C0C5}" srcOrd="0" destOrd="0" presId="urn:microsoft.com/office/officeart/2005/8/layout/orgChart1"/>
    <dgm:cxn modelId="{191C6091-E91D-4720-BB7E-22542D68C327}" type="presParOf" srcId="{26D78FE9-689F-4663-AD3F-63D4D8B6C0C5}" destId="{5DB35AF2-9F99-41D1-8632-C9180952D400}" srcOrd="0" destOrd="0" presId="urn:microsoft.com/office/officeart/2005/8/layout/orgChart1"/>
    <dgm:cxn modelId="{4747F219-D5BA-44BD-B2DE-7A4AC76DAAF8}" type="presParOf" srcId="{26D78FE9-689F-4663-AD3F-63D4D8B6C0C5}" destId="{0C3F6E97-B6A1-4AB0-999E-809A2DD9458F}" srcOrd="1" destOrd="0" presId="urn:microsoft.com/office/officeart/2005/8/layout/orgChart1"/>
    <dgm:cxn modelId="{CFAD5394-6DEF-4940-A2D1-884CE641C395}" type="presParOf" srcId="{0F3C6A10-43E4-4BC1-849F-716A9D7D7064}" destId="{638A00AB-86A0-4F47-8A78-404B5D8F73B4}" srcOrd="1" destOrd="0" presId="urn:microsoft.com/office/officeart/2005/8/layout/orgChart1"/>
    <dgm:cxn modelId="{E3C82ED2-9E72-4B14-B9E0-368644BB6C9E}" type="presParOf" srcId="{0F3C6A10-43E4-4BC1-849F-716A9D7D7064}" destId="{31CCB16D-1F93-4A39-AABB-69C977B297B1}" srcOrd="2" destOrd="0" presId="urn:microsoft.com/office/officeart/2005/8/layout/orgChart1"/>
    <dgm:cxn modelId="{D3C48997-0900-4DAB-93A4-64F0F6EF7CBD}" type="presParOf" srcId="{882847BB-1BFC-4BB3-8D09-D08D54568650}" destId="{01339B95-88B7-4F4F-A457-9F4D8AE543CB}" srcOrd="2" destOrd="0" presId="urn:microsoft.com/office/officeart/2005/8/layout/orgChart1"/>
    <dgm:cxn modelId="{80D53BDA-7CAB-4B14-A3D0-5CFE6CC15C65}" type="presParOf" srcId="{01339B95-88B7-4F4F-A457-9F4D8AE543CB}" destId="{FC539C55-36ED-4A1F-B51A-730B064D091F}" srcOrd="0" destOrd="0" presId="urn:microsoft.com/office/officeart/2005/8/layout/orgChart1"/>
    <dgm:cxn modelId="{E25C9AD0-8613-4C36-B97B-2EF37B066B4D}" type="presParOf" srcId="{FC539C55-36ED-4A1F-B51A-730B064D091F}" destId="{CEF4917A-2583-498A-ACAC-CF0D58E8F0A6}" srcOrd="0" destOrd="0" presId="urn:microsoft.com/office/officeart/2005/8/layout/orgChart1"/>
    <dgm:cxn modelId="{F80BDB69-8DD8-4952-91C7-6B542CB47D6F}" type="presParOf" srcId="{FC539C55-36ED-4A1F-B51A-730B064D091F}" destId="{76A1B028-0264-4306-B668-81F10E56A238}" srcOrd="1" destOrd="0" presId="urn:microsoft.com/office/officeart/2005/8/layout/orgChart1"/>
    <dgm:cxn modelId="{ABF00C4A-2017-408E-B398-31F68A513DD4}" type="presParOf" srcId="{01339B95-88B7-4F4F-A457-9F4D8AE543CB}" destId="{5E3F62F6-1369-43F7-BBED-E61685CA3D5A}" srcOrd="1" destOrd="0" presId="urn:microsoft.com/office/officeart/2005/8/layout/orgChart1"/>
    <dgm:cxn modelId="{0C1795C1-990F-4FD1-BF17-70534EB441E0}" type="presParOf" srcId="{01339B95-88B7-4F4F-A457-9F4D8AE543CB}" destId="{DCD935AD-C0AE-407B-8CCD-5F7F163AEAE0}" srcOrd="2" destOrd="0" presId="urn:microsoft.com/office/officeart/2005/8/layout/orgChart1"/>
    <dgm:cxn modelId="{5B18BF82-CEBC-4044-BC48-C9AEF2755484}" type="presParOf" srcId="{882847BB-1BFC-4BB3-8D09-D08D54568650}" destId="{E4966682-1B60-46A0-9CCF-0D5AF3EC0080}" srcOrd="3" destOrd="0" presId="urn:microsoft.com/office/officeart/2005/8/layout/orgChart1"/>
    <dgm:cxn modelId="{A3DD2D88-12EB-435C-837A-3715A626AB80}" type="presParOf" srcId="{E4966682-1B60-46A0-9CCF-0D5AF3EC0080}" destId="{64B0E16F-C4F4-4A55-9E9B-6C8A8C37FC29}" srcOrd="0" destOrd="0" presId="urn:microsoft.com/office/officeart/2005/8/layout/orgChart1"/>
    <dgm:cxn modelId="{6AE40C4E-F6C0-4DEE-B5C9-7D07759CE298}" type="presParOf" srcId="{64B0E16F-C4F4-4A55-9E9B-6C8A8C37FC29}" destId="{477157D4-E55E-4D4B-941F-24801F1D36AC}" srcOrd="0" destOrd="0" presId="urn:microsoft.com/office/officeart/2005/8/layout/orgChart1"/>
    <dgm:cxn modelId="{24161196-EB85-4A79-B4C5-EC9E0B53CB49}" type="presParOf" srcId="{64B0E16F-C4F4-4A55-9E9B-6C8A8C37FC29}" destId="{593BDACD-F4D9-4D1C-8240-97878CE4C00F}" srcOrd="1" destOrd="0" presId="urn:microsoft.com/office/officeart/2005/8/layout/orgChart1"/>
    <dgm:cxn modelId="{12ECEE69-A5E5-4250-8751-A5500275CABB}" type="presParOf" srcId="{E4966682-1B60-46A0-9CCF-0D5AF3EC0080}" destId="{DDE6D04B-90BD-4DA5-AFA7-464662047F49}" srcOrd="1" destOrd="0" presId="urn:microsoft.com/office/officeart/2005/8/layout/orgChart1"/>
    <dgm:cxn modelId="{158FA6AF-00A3-41D1-9A83-AAF3A779DD52}" type="presParOf" srcId="{E4966682-1B60-46A0-9CCF-0D5AF3EC0080}" destId="{85371274-E265-48D9-8050-B0806DE30CCE}" srcOrd="2" destOrd="0" presId="urn:microsoft.com/office/officeart/2005/8/layout/orgChar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dirty="0">
              <a:latin typeface="+mj-lt"/>
            </a:rPr>
            <a:t>Educate Exec Sponsor</a:t>
          </a:r>
          <a:endParaRPr lang="en-GB" sz="2000" dirty="0"/>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A4FAF82A-0A28-41EA-A5C1-452D21F72953}">
      <dgm:prSet custT="1"/>
      <dgm:spPr/>
      <dgm:t>
        <a:bodyPr/>
        <a:lstStyle/>
        <a:p>
          <a:r>
            <a:rPr lang="en-US" sz="2000">
              <a:latin typeface="+mj-lt"/>
            </a:rPr>
            <a:t>Identify Champions</a:t>
          </a:r>
          <a:endParaRPr lang="en-GB" sz="2000" dirty="0">
            <a:latin typeface="+mj-lt"/>
          </a:endParaRPr>
        </a:p>
      </dgm:t>
    </dgm:pt>
    <dgm:pt modelId="{2AA3B0AC-E6CD-48E1-B115-BD46D6FCD9A4}" type="parTrans" cxnId="{C1F06FF3-50B9-4D73-BD36-5BEAC32C1AEA}">
      <dgm:prSet/>
      <dgm:spPr/>
      <dgm:t>
        <a:bodyPr/>
        <a:lstStyle/>
        <a:p>
          <a:endParaRPr lang="en-GB"/>
        </a:p>
      </dgm:t>
    </dgm:pt>
    <dgm:pt modelId="{BEEF255E-5166-4806-B609-21F0503CB9EA}" type="sibTrans" cxnId="{C1F06FF3-50B9-4D73-BD36-5BEAC32C1AEA}">
      <dgm:prSet/>
      <dgm:spPr/>
      <dgm:t>
        <a:bodyPr/>
        <a:lstStyle/>
        <a:p>
          <a:endParaRPr lang="en-GB"/>
        </a:p>
      </dgm:t>
    </dgm:pt>
    <dgm:pt modelId="{61E4E6B0-D330-4D95-B65B-7ED8BE386EC7}">
      <dgm:prSet custT="1"/>
      <dgm:spPr/>
      <dgm:t>
        <a:bodyPr/>
        <a:lstStyle/>
        <a:p>
          <a:r>
            <a:rPr lang="en-US" sz="2000" dirty="0">
              <a:latin typeface="+mj-lt"/>
            </a:rPr>
            <a:t>Train pilot team</a:t>
          </a:r>
          <a:endParaRPr lang="en-GB" sz="2000" dirty="0">
            <a:latin typeface="+mj-lt"/>
          </a:endParaRPr>
        </a:p>
      </dgm:t>
    </dgm:pt>
    <dgm:pt modelId="{5DEF2E41-43BF-43F6-993E-7D939C65B20A}" type="parTrans" cxnId="{81EB3818-38F7-4EF5-A301-8D3DA5667D9E}">
      <dgm:prSet/>
      <dgm:spPr/>
      <dgm:t>
        <a:bodyPr/>
        <a:lstStyle/>
        <a:p>
          <a:endParaRPr lang="en-GB"/>
        </a:p>
      </dgm:t>
    </dgm:pt>
    <dgm:pt modelId="{1B45C903-9C8B-406C-876E-31B301CE6881}" type="sibTrans" cxnId="{81EB3818-38F7-4EF5-A301-8D3DA5667D9E}">
      <dgm:prSet/>
      <dgm:spPr/>
      <dgm:t>
        <a:bodyPr/>
        <a:lstStyle/>
        <a:p>
          <a:endParaRPr lang="en-GB"/>
        </a:p>
      </dgm:t>
    </dgm:pt>
    <dgm:pt modelId="{8C6A422A-1240-4232-AAD7-07244886B70A}">
      <dgm:prSet custT="1"/>
      <dgm:spPr/>
      <dgm:t>
        <a:bodyPr/>
        <a:lstStyle/>
        <a:p>
          <a:r>
            <a:rPr lang="en-US" sz="2000" dirty="0">
              <a:latin typeface="+mj-lt"/>
            </a:rPr>
            <a:t>Prove value</a:t>
          </a:r>
          <a:endParaRPr lang="en-GB" sz="2000" dirty="0">
            <a:latin typeface="+mj-lt"/>
          </a:endParaRPr>
        </a:p>
      </dgm:t>
    </dgm:pt>
    <dgm:pt modelId="{2FA06949-3CF5-494F-ABE9-7F442175E529}" type="parTrans" cxnId="{0BA7B8EF-FBAF-4710-98C5-AE5760700EB0}">
      <dgm:prSet/>
      <dgm:spPr/>
      <dgm:t>
        <a:bodyPr/>
        <a:lstStyle/>
        <a:p>
          <a:endParaRPr lang="en-GB"/>
        </a:p>
      </dgm:t>
    </dgm:pt>
    <dgm:pt modelId="{B0EF37C9-6E27-444E-914D-6029F478F7F1}" type="sibTrans" cxnId="{0BA7B8EF-FBAF-4710-98C5-AE5760700EB0}">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65F37335-44BA-4DF7-BD7D-072641F71DC1}" type="pres">
      <dgm:prSet presAssocID="{A4FAF82A-0A28-41EA-A5C1-452D21F72953}" presName="hierRoot1" presStyleCnt="0">
        <dgm:presLayoutVars>
          <dgm:hierBranch val="init"/>
        </dgm:presLayoutVars>
      </dgm:prSet>
      <dgm:spPr/>
    </dgm:pt>
    <dgm:pt modelId="{2709BF4A-A1DB-4727-AD1C-666FE70278E5}" type="pres">
      <dgm:prSet presAssocID="{A4FAF82A-0A28-41EA-A5C1-452D21F72953}" presName="rootComposite1" presStyleCnt="0"/>
      <dgm:spPr/>
    </dgm:pt>
    <dgm:pt modelId="{D850B575-8268-47C9-BA65-19D4C41AF72F}" type="pres">
      <dgm:prSet presAssocID="{A4FAF82A-0A28-41EA-A5C1-452D21F72953}" presName="rootText1" presStyleLbl="node0" presStyleIdx="1" presStyleCnt="4">
        <dgm:presLayoutVars>
          <dgm:chPref val="3"/>
        </dgm:presLayoutVars>
      </dgm:prSet>
      <dgm:spPr/>
    </dgm:pt>
    <dgm:pt modelId="{3E9D21D4-DE74-44D5-91AE-BC592200A72E}" type="pres">
      <dgm:prSet presAssocID="{A4FAF82A-0A28-41EA-A5C1-452D21F72953}" presName="rootConnector1" presStyleLbl="node1" presStyleIdx="0" presStyleCnt="0"/>
      <dgm:spPr/>
    </dgm:pt>
    <dgm:pt modelId="{B82C1572-0818-4976-8414-84EB49C2AC19}" type="pres">
      <dgm:prSet presAssocID="{A4FAF82A-0A28-41EA-A5C1-452D21F72953}" presName="hierChild2" presStyleCnt="0"/>
      <dgm:spPr/>
    </dgm:pt>
    <dgm:pt modelId="{D99BB491-E184-40BE-9B98-AA7899AB15F7}" type="pres">
      <dgm:prSet presAssocID="{A4FAF82A-0A28-41EA-A5C1-452D21F72953}" presName="hierChild3" presStyleCnt="0"/>
      <dgm:spPr/>
    </dgm:pt>
    <dgm:pt modelId="{A0877DAA-F396-4A26-9E32-1B3701247E71}" type="pres">
      <dgm:prSet presAssocID="{61E4E6B0-D330-4D95-B65B-7ED8BE386EC7}" presName="hierRoot1" presStyleCnt="0">
        <dgm:presLayoutVars>
          <dgm:hierBranch val="init"/>
        </dgm:presLayoutVars>
      </dgm:prSet>
      <dgm:spPr/>
    </dgm:pt>
    <dgm:pt modelId="{DF8EF3D2-979A-4BF7-8445-E6E742506F19}" type="pres">
      <dgm:prSet presAssocID="{61E4E6B0-D330-4D95-B65B-7ED8BE386EC7}" presName="rootComposite1" presStyleCnt="0"/>
      <dgm:spPr/>
    </dgm:pt>
    <dgm:pt modelId="{4D714C27-05B4-4ED3-A13F-C6955017C71B}" type="pres">
      <dgm:prSet presAssocID="{61E4E6B0-D330-4D95-B65B-7ED8BE386EC7}" presName="rootText1" presStyleLbl="node0" presStyleIdx="2" presStyleCnt="4">
        <dgm:presLayoutVars>
          <dgm:chPref val="3"/>
        </dgm:presLayoutVars>
      </dgm:prSet>
      <dgm:spPr/>
    </dgm:pt>
    <dgm:pt modelId="{A43C8D30-A465-407F-B7DD-669C6AEF4CAF}" type="pres">
      <dgm:prSet presAssocID="{61E4E6B0-D330-4D95-B65B-7ED8BE386EC7}" presName="rootConnector1" presStyleLbl="node1" presStyleIdx="0" presStyleCnt="0"/>
      <dgm:spPr/>
    </dgm:pt>
    <dgm:pt modelId="{064BEF2A-F8FA-4DB7-8D0F-EDCC9E63348A}" type="pres">
      <dgm:prSet presAssocID="{61E4E6B0-D330-4D95-B65B-7ED8BE386EC7}" presName="hierChild2" presStyleCnt="0"/>
      <dgm:spPr/>
    </dgm:pt>
    <dgm:pt modelId="{DECD5475-11E4-4177-B713-0269AE0B80AA}" type="pres">
      <dgm:prSet presAssocID="{61E4E6B0-D330-4D95-B65B-7ED8BE386EC7}" presName="hierChild3" presStyleCnt="0"/>
      <dgm:spPr/>
    </dgm:pt>
    <dgm:pt modelId="{DFA896E4-7E3D-43BD-8601-E98BC269D98E}" type="pres">
      <dgm:prSet presAssocID="{8C6A422A-1240-4232-AAD7-07244886B70A}" presName="hierRoot1" presStyleCnt="0">
        <dgm:presLayoutVars>
          <dgm:hierBranch val="init"/>
        </dgm:presLayoutVars>
      </dgm:prSet>
      <dgm:spPr/>
    </dgm:pt>
    <dgm:pt modelId="{AE473816-940B-4D4A-826A-E5672438AB48}" type="pres">
      <dgm:prSet presAssocID="{8C6A422A-1240-4232-AAD7-07244886B70A}" presName="rootComposite1" presStyleCnt="0"/>
      <dgm:spPr/>
    </dgm:pt>
    <dgm:pt modelId="{319A0EE5-FAE2-47D1-9B8C-2CB650E731B7}" type="pres">
      <dgm:prSet presAssocID="{8C6A422A-1240-4232-AAD7-07244886B70A}" presName="rootText1" presStyleLbl="node0" presStyleIdx="3" presStyleCnt="4">
        <dgm:presLayoutVars>
          <dgm:chPref val="3"/>
        </dgm:presLayoutVars>
      </dgm:prSet>
      <dgm:spPr/>
    </dgm:pt>
    <dgm:pt modelId="{30E024D0-F6E4-4F60-B39F-14C88CFB4B43}" type="pres">
      <dgm:prSet presAssocID="{8C6A422A-1240-4232-AAD7-07244886B70A}" presName="rootConnector1" presStyleLbl="node1" presStyleIdx="0" presStyleCnt="0"/>
      <dgm:spPr/>
    </dgm:pt>
    <dgm:pt modelId="{1C30DEC0-E55C-4274-9224-46E548ABD322}" type="pres">
      <dgm:prSet presAssocID="{8C6A422A-1240-4232-AAD7-07244886B70A}" presName="hierChild2" presStyleCnt="0"/>
      <dgm:spPr/>
    </dgm:pt>
    <dgm:pt modelId="{A8F86259-881B-46F0-96AC-D7272228E88F}" type="pres">
      <dgm:prSet presAssocID="{8C6A422A-1240-4232-AAD7-07244886B70A}" presName="hierChild3" presStyleCnt="0"/>
      <dgm:spPr/>
    </dgm:pt>
  </dgm:ptLst>
  <dgm:cxnLst>
    <dgm:cxn modelId="{81EB3818-38F7-4EF5-A301-8D3DA5667D9E}" srcId="{708AF9BC-243E-4B3A-9C1B-BC1BA44B4E55}" destId="{61E4E6B0-D330-4D95-B65B-7ED8BE386EC7}" srcOrd="2" destOrd="0" parTransId="{5DEF2E41-43BF-43F6-993E-7D939C65B20A}" sibTransId="{1B45C903-9C8B-406C-876E-31B301CE6881}"/>
    <dgm:cxn modelId="{70BC5E1B-4F64-4953-A671-211C61D1B78B}" type="presOf" srcId="{61E4E6B0-D330-4D95-B65B-7ED8BE386EC7}" destId="{A43C8D30-A465-407F-B7DD-669C6AEF4CAF}" srcOrd="1" destOrd="0" presId="urn:microsoft.com/office/officeart/2005/8/layout/orgChart1"/>
    <dgm:cxn modelId="{84379D6A-C95D-421B-9C27-F354211A1228}" type="presOf" srcId="{A4FAF82A-0A28-41EA-A5C1-452D21F72953}" destId="{D850B575-8268-47C9-BA65-19D4C41AF72F}" srcOrd="0" destOrd="0" presId="urn:microsoft.com/office/officeart/2005/8/layout/orgChart1"/>
    <dgm:cxn modelId="{925DBC6D-1108-4B62-822A-32170FFC7160}" type="presOf" srcId="{8C6A422A-1240-4232-AAD7-07244886B70A}" destId="{30E024D0-F6E4-4F60-B39F-14C88CFB4B43}" srcOrd="1" destOrd="0" presId="urn:microsoft.com/office/officeart/2005/8/layout/orgChart1"/>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8D7CCE9C-E370-4D7D-BB2B-9755267E3B22}" type="presOf" srcId="{A4FAF82A-0A28-41EA-A5C1-452D21F72953}" destId="{3E9D21D4-DE74-44D5-91AE-BC592200A72E}"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B1861BE0-3BE9-4283-B8C5-2671D70ABC55}" type="presOf" srcId="{8C6A422A-1240-4232-AAD7-07244886B70A}" destId="{319A0EE5-FAE2-47D1-9B8C-2CB650E731B7}" srcOrd="0" destOrd="0" presId="urn:microsoft.com/office/officeart/2005/8/layout/orgChart1"/>
    <dgm:cxn modelId="{0BA7B8EF-FBAF-4710-98C5-AE5760700EB0}" srcId="{708AF9BC-243E-4B3A-9C1B-BC1BA44B4E55}" destId="{8C6A422A-1240-4232-AAD7-07244886B70A}" srcOrd="3" destOrd="0" parTransId="{2FA06949-3CF5-494F-ABE9-7F442175E529}" sibTransId="{B0EF37C9-6E27-444E-914D-6029F478F7F1}"/>
    <dgm:cxn modelId="{C1F06FF3-50B9-4D73-BD36-5BEAC32C1AEA}" srcId="{708AF9BC-243E-4B3A-9C1B-BC1BA44B4E55}" destId="{A4FAF82A-0A28-41EA-A5C1-452D21F72953}" srcOrd="1" destOrd="0" parTransId="{2AA3B0AC-E6CD-48E1-B115-BD46D6FCD9A4}" sibTransId="{BEEF255E-5166-4806-B609-21F0503CB9EA}"/>
    <dgm:cxn modelId="{B755A9F7-628F-4EF4-AD34-0D5DFDA12E9D}" type="presOf" srcId="{61E4E6B0-D330-4D95-B65B-7ED8BE386EC7}" destId="{4D714C27-05B4-4ED3-A13F-C6955017C71B}" srcOrd="0"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DADD5A35-5B41-40D1-8E9E-5D09C5E4A9D4}" type="presParOf" srcId="{882847BB-1BFC-4BB3-8D09-D08D54568650}" destId="{65F37335-44BA-4DF7-BD7D-072641F71DC1}" srcOrd="1" destOrd="0" presId="urn:microsoft.com/office/officeart/2005/8/layout/orgChart1"/>
    <dgm:cxn modelId="{3DF11374-0875-4653-BA8D-0ADE6B5B13D3}" type="presParOf" srcId="{65F37335-44BA-4DF7-BD7D-072641F71DC1}" destId="{2709BF4A-A1DB-4727-AD1C-666FE70278E5}" srcOrd="0" destOrd="0" presId="urn:microsoft.com/office/officeart/2005/8/layout/orgChart1"/>
    <dgm:cxn modelId="{DA110F63-DBFD-4641-BE58-B7F99148A56B}" type="presParOf" srcId="{2709BF4A-A1DB-4727-AD1C-666FE70278E5}" destId="{D850B575-8268-47C9-BA65-19D4C41AF72F}" srcOrd="0" destOrd="0" presId="urn:microsoft.com/office/officeart/2005/8/layout/orgChart1"/>
    <dgm:cxn modelId="{89D39635-5A78-4ACE-A29D-9913B286E9B4}" type="presParOf" srcId="{2709BF4A-A1DB-4727-AD1C-666FE70278E5}" destId="{3E9D21D4-DE74-44D5-91AE-BC592200A72E}" srcOrd="1" destOrd="0" presId="urn:microsoft.com/office/officeart/2005/8/layout/orgChart1"/>
    <dgm:cxn modelId="{786CAC66-885E-4782-A9F2-5CFC16DAFA7B}" type="presParOf" srcId="{65F37335-44BA-4DF7-BD7D-072641F71DC1}" destId="{B82C1572-0818-4976-8414-84EB49C2AC19}" srcOrd="1" destOrd="0" presId="urn:microsoft.com/office/officeart/2005/8/layout/orgChart1"/>
    <dgm:cxn modelId="{D6F3C186-8CD7-4DFD-85B9-7AAC07016DEE}" type="presParOf" srcId="{65F37335-44BA-4DF7-BD7D-072641F71DC1}" destId="{D99BB491-E184-40BE-9B98-AA7899AB15F7}" srcOrd="2" destOrd="0" presId="urn:microsoft.com/office/officeart/2005/8/layout/orgChart1"/>
    <dgm:cxn modelId="{07124CFA-80D6-4911-B1D1-71639C07C996}" type="presParOf" srcId="{882847BB-1BFC-4BB3-8D09-D08D54568650}" destId="{A0877DAA-F396-4A26-9E32-1B3701247E71}" srcOrd="2" destOrd="0" presId="urn:microsoft.com/office/officeart/2005/8/layout/orgChart1"/>
    <dgm:cxn modelId="{53BF42D2-6380-4BEB-B56F-C3A12C6E9CFA}" type="presParOf" srcId="{A0877DAA-F396-4A26-9E32-1B3701247E71}" destId="{DF8EF3D2-979A-4BF7-8445-E6E742506F19}" srcOrd="0" destOrd="0" presId="urn:microsoft.com/office/officeart/2005/8/layout/orgChart1"/>
    <dgm:cxn modelId="{0E84D4B5-2A06-409A-B596-2775AF273DDF}" type="presParOf" srcId="{DF8EF3D2-979A-4BF7-8445-E6E742506F19}" destId="{4D714C27-05B4-4ED3-A13F-C6955017C71B}" srcOrd="0" destOrd="0" presId="urn:microsoft.com/office/officeart/2005/8/layout/orgChart1"/>
    <dgm:cxn modelId="{61E08058-40B4-4E25-9D5C-21020B61686E}" type="presParOf" srcId="{DF8EF3D2-979A-4BF7-8445-E6E742506F19}" destId="{A43C8D30-A465-407F-B7DD-669C6AEF4CAF}" srcOrd="1" destOrd="0" presId="urn:microsoft.com/office/officeart/2005/8/layout/orgChart1"/>
    <dgm:cxn modelId="{46716B62-A245-442D-A5A6-EA4B06812BD7}" type="presParOf" srcId="{A0877DAA-F396-4A26-9E32-1B3701247E71}" destId="{064BEF2A-F8FA-4DB7-8D0F-EDCC9E63348A}" srcOrd="1" destOrd="0" presId="urn:microsoft.com/office/officeart/2005/8/layout/orgChart1"/>
    <dgm:cxn modelId="{331AF5C5-8015-465E-AAFC-CB02D2716A45}" type="presParOf" srcId="{A0877DAA-F396-4A26-9E32-1B3701247E71}" destId="{DECD5475-11E4-4177-B713-0269AE0B80AA}" srcOrd="2" destOrd="0" presId="urn:microsoft.com/office/officeart/2005/8/layout/orgChart1"/>
    <dgm:cxn modelId="{4ECE3F28-A465-4708-BC25-8C4489DC327F}" type="presParOf" srcId="{882847BB-1BFC-4BB3-8D09-D08D54568650}" destId="{DFA896E4-7E3D-43BD-8601-E98BC269D98E}" srcOrd="3" destOrd="0" presId="urn:microsoft.com/office/officeart/2005/8/layout/orgChart1"/>
    <dgm:cxn modelId="{449533E9-B4DB-45BB-AA3A-AB219B2A8DC0}" type="presParOf" srcId="{DFA896E4-7E3D-43BD-8601-E98BC269D98E}" destId="{AE473816-940B-4D4A-826A-E5672438AB48}" srcOrd="0" destOrd="0" presId="urn:microsoft.com/office/officeart/2005/8/layout/orgChart1"/>
    <dgm:cxn modelId="{7C3DB490-669B-414D-B11D-2A894723A3DE}" type="presParOf" srcId="{AE473816-940B-4D4A-826A-E5672438AB48}" destId="{319A0EE5-FAE2-47D1-9B8C-2CB650E731B7}" srcOrd="0" destOrd="0" presId="urn:microsoft.com/office/officeart/2005/8/layout/orgChart1"/>
    <dgm:cxn modelId="{0224A283-CB9C-4EF6-9B97-7DAFB0E29F5A}" type="presParOf" srcId="{AE473816-940B-4D4A-826A-E5672438AB48}" destId="{30E024D0-F6E4-4F60-B39F-14C88CFB4B43}" srcOrd="1" destOrd="0" presId="urn:microsoft.com/office/officeart/2005/8/layout/orgChart1"/>
    <dgm:cxn modelId="{9CAD8C97-0177-4261-81BF-81AB832D190B}" type="presParOf" srcId="{DFA896E4-7E3D-43BD-8601-E98BC269D98E}" destId="{1C30DEC0-E55C-4274-9224-46E548ABD322}" srcOrd="1" destOrd="0" presId="urn:microsoft.com/office/officeart/2005/8/layout/orgChart1"/>
    <dgm:cxn modelId="{7F3F6CA1-9D23-4898-A52D-1022B5DBA14D}" type="presParOf" srcId="{DFA896E4-7E3D-43BD-8601-E98BC269D98E}" destId="{A8F86259-881B-46F0-96AC-D7272228E88F}" srcOrd="2" destOrd="0" presId="urn:microsoft.com/office/officeart/2005/8/layout/orgChar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GB" sz="2000" kern="1200" dirty="0">
              <a:latin typeface="+mj-lt"/>
            </a:rPr>
            <a:t>Centre of Excellence</a:t>
          </a: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8A3434D6-0B54-465D-8C39-B373F9F1915D}">
      <dgm:prSet custT="1"/>
      <dgm:spPr/>
      <dgm:t>
        <a:bodyPr/>
        <a:lstStyle/>
        <a:p>
          <a:r>
            <a:rPr lang="en-GB" sz="2000" dirty="0">
              <a:latin typeface="+mj-lt"/>
            </a:rPr>
            <a:t>End user training </a:t>
          </a:r>
        </a:p>
      </dgm:t>
    </dgm:pt>
    <dgm:pt modelId="{687680E3-61FB-424F-9E4E-66B472B25968}" type="parTrans" cxnId="{F79FC844-3274-40F2-8F2E-2E7F13168163}">
      <dgm:prSet/>
      <dgm:spPr/>
      <dgm:t>
        <a:bodyPr/>
        <a:lstStyle/>
        <a:p>
          <a:endParaRPr lang="en-GB"/>
        </a:p>
      </dgm:t>
    </dgm:pt>
    <dgm:pt modelId="{384F4A1C-2831-46F3-80E5-143E80421983}" type="sibTrans" cxnId="{F79FC844-3274-40F2-8F2E-2E7F13168163}">
      <dgm:prSet/>
      <dgm:spPr/>
      <dgm:t>
        <a:bodyPr/>
        <a:lstStyle/>
        <a:p>
          <a:endParaRPr lang="en-GB"/>
        </a:p>
      </dgm:t>
    </dgm:pt>
    <dgm:pt modelId="{A5317DE7-7E34-4077-9721-E9A2A8C72316}">
      <dgm:prSet custT="1"/>
      <dgm:spPr/>
      <dgm:t>
        <a:bodyPr/>
        <a:lstStyle/>
        <a:p>
          <a:r>
            <a:rPr lang="en-GB" sz="2000" dirty="0">
              <a:latin typeface="+mj-lt"/>
            </a:rPr>
            <a:t>Internal community</a:t>
          </a:r>
        </a:p>
      </dgm:t>
    </dgm:pt>
    <dgm:pt modelId="{A3E2BAD5-748F-4750-9E73-6BDAC44922E9}" type="parTrans" cxnId="{0E80F1B9-F0CA-493F-9749-1A6644AB17C6}">
      <dgm:prSet/>
      <dgm:spPr/>
      <dgm:t>
        <a:bodyPr/>
        <a:lstStyle/>
        <a:p>
          <a:endParaRPr lang="en-GB"/>
        </a:p>
      </dgm:t>
    </dgm:pt>
    <dgm:pt modelId="{02523A9A-2C13-459E-816F-CBE852D7B536}" type="sibTrans" cxnId="{0E80F1B9-F0CA-493F-9749-1A6644AB17C6}">
      <dgm:prSet/>
      <dgm:spPr/>
      <dgm:t>
        <a:bodyPr/>
        <a:lstStyle/>
        <a:p>
          <a:endParaRPr lang="en-GB"/>
        </a:p>
      </dgm:t>
    </dgm:pt>
    <dgm:pt modelId="{BA7105E4-1B1B-4050-9E12-CB4E682F79B0}">
      <dgm:prSet custT="1"/>
      <dgm:spPr/>
      <dgm:t>
        <a:bodyPr/>
        <a:lstStyle/>
        <a:p>
          <a:r>
            <a:rPr lang="en-GB" sz="2000" kern="1200">
              <a:latin typeface="+mj-lt"/>
            </a:rPr>
            <a:t>Internal </a:t>
          </a:r>
          <a:r>
            <a:rPr lang="en-GB" sz="2000" kern="1200" dirty="0">
              <a:latin typeface="+mj-lt"/>
            </a:rPr>
            <a:t>marketing</a:t>
          </a:r>
        </a:p>
      </dgm:t>
    </dgm:pt>
    <dgm:pt modelId="{4FE4E52D-1F53-41A6-9A61-FFA6FE95CC1D}" type="parTrans" cxnId="{2B6E250D-3D86-48A7-ACEC-1BE016FC4F33}">
      <dgm:prSet/>
      <dgm:spPr/>
      <dgm:t>
        <a:bodyPr/>
        <a:lstStyle/>
        <a:p>
          <a:endParaRPr lang="en-GB"/>
        </a:p>
      </dgm:t>
    </dgm:pt>
    <dgm:pt modelId="{985B0C8E-BEA9-46E6-9DE7-D5CE3E45649C}" type="sibTrans" cxnId="{2B6E250D-3D86-48A7-ACEC-1BE016FC4F33}">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A6D45C24-3FE1-40B1-ACD2-B9B53DC356A1}" type="pres">
      <dgm:prSet presAssocID="{BA7105E4-1B1B-4050-9E12-CB4E682F79B0}" presName="hierRoot1" presStyleCnt="0">
        <dgm:presLayoutVars>
          <dgm:hierBranch val="init"/>
        </dgm:presLayoutVars>
      </dgm:prSet>
      <dgm:spPr/>
    </dgm:pt>
    <dgm:pt modelId="{D6EAE264-5556-45E3-A4FC-9B1A47D633B5}" type="pres">
      <dgm:prSet presAssocID="{BA7105E4-1B1B-4050-9E12-CB4E682F79B0}" presName="rootComposite1" presStyleCnt="0"/>
      <dgm:spPr/>
    </dgm:pt>
    <dgm:pt modelId="{44A7D895-1910-4068-8F24-1EC9C16B09C5}" type="pres">
      <dgm:prSet presAssocID="{BA7105E4-1B1B-4050-9E12-CB4E682F79B0}" presName="rootText1" presStyleLbl="node0" presStyleIdx="1" presStyleCnt="4">
        <dgm:presLayoutVars>
          <dgm:chPref val="3"/>
        </dgm:presLayoutVars>
      </dgm:prSet>
      <dgm:spPr/>
    </dgm:pt>
    <dgm:pt modelId="{81034CB8-3BD7-4E16-8F61-304A6CCE31D0}" type="pres">
      <dgm:prSet presAssocID="{BA7105E4-1B1B-4050-9E12-CB4E682F79B0}" presName="rootConnector1" presStyleLbl="node1" presStyleIdx="0" presStyleCnt="0"/>
      <dgm:spPr/>
    </dgm:pt>
    <dgm:pt modelId="{05918EBC-E6F2-41DE-80FA-5359F8BD02D7}" type="pres">
      <dgm:prSet presAssocID="{BA7105E4-1B1B-4050-9E12-CB4E682F79B0}" presName="hierChild2" presStyleCnt="0"/>
      <dgm:spPr/>
    </dgm:pt>
    <dgm:pt modelId="{44C5AD00-F70C-4AFC-9953-5EEDDABB9EC5}" type="pres">
      <dgm:prSet presAssocID="{BA7105E4-1B1B-4050-9E12-CB4E682F79B0}" presName="hierChild3" presStyleCnt="0"/>
      <dgm:spPr/>
    </dgm:pt>
    <dgm:pt modelId="{3B008B0A-68DF-4629-BD6A-89D302FF7FD5}" type="pres">
      <dgm:prSet presAssocID="{8A3434D6-0B54-465D-8C39-B373F9F1915D}" presName="hierRoot1" presStyleCnt="0">
        <dgm:presLayoutVars>
          <dgm:hierBranch val="init"/>
        </dgm:presLayoutVars>
      </dgm:prSet>
      <dgm:spPr/>
    </dgm:pt>
    <dgm:pt modelId="{DF3D44BC-921B-4080-B6C3-EC30BE428598}" type="pres">
      <dgm:prSet presAssocID="{8A3434D6-0B54-465D-8C39-B373F9F1915D}" presName="rootComposite1" presStyleCnt="0"/>
      <dgm:spPr/>
    </dgm:pt>
    <dgm:pt modelId="{7E62F2A4-EBAB-4D1C-AFFC-123B159E248A}" type="pres">
      <dgm:prSet presAssocID="{8A3434D6-0B54-465D-8C39-B373F9F1915D}" presName="rootText1" presStyleLbl="node0" presStyleIdx="2" presStyleCnt="4">
        <dgm:presLayoutVars>
          <dgm:chPref val="3"/>
        </dgm:presLayoutVars>
      </dgm:prSet>
      <dgm:spPr/>
    </dgm:pt>
    <dgm:pt modelId="{41F870AA-ABC2-4E65-9D35-17DE8BC09D69}" type="pres">
      <dgm:prSet presAssocID="{8A3434D6-0B54-465D-8C39-B373F9F1915D}" presName="rootConnector1" presStyleLbl="node1" presStyleIdx="0" presStyleCnt="0"/>
      <dgm:spPr/>
    </dgm:pt>
    <dgm:pt modelId="{EE34A903-DD41-4D76-AA83-8F0D2BD45549}" type="pres">
      <dgm:prSet presAssocID="{8A3434D6-0B54-465D-8C39-B373F9F1915D}" presName="hierChild2" presStyleCnt="0"/>
      <dgm:spPr/>
    </dgm:pt>
    <dgm:pt modelId="{6236136E-4850-4CE1-8C6A-AF319FF1BBD6}" type="pres">
      <dgm:prSet presAssocID="{8A3434D6-0B54-465D-8C39-B373F9F1915D}" presName="hierChild3" presStyleCnt="0"/>
      <dgm:spPr/>
    </dgm:pt>
    <dgm:pt modelId="{03767371-AA06-41B0-BFAF-438D610A5D80}" type="pres">
      <dgm:prSet presAssocID="{A5317DE7-7E34-4077-9721-E9A2A8C72316}" presName="hierRoot1" presStyleCnt="0">
        <dgm:presLayoutVars>
          <dgm:hierBranch val="init"/>
        </dgm:presLayoutVars>
      </dgm:prSet>
      <dgm:spPr/>
    </dgm:pt>
    <dgm:pt modelId="{56E03BB2-0ED4-4ABF-866E-80C66BBC478E}" type="pres">
      <dgm:prSet presAssocID="{A5317DE7-7E34-4077-9721-E9A2A8C72316}" presName="rootComposite1" presStyleCnt="0"/>
      <dgm:spPr/>
    </dgm:pt>
    <dgm:pt modelId="{B41BF3A0-5F9B-4C4A-AFF8-07F25F44D473}" type="pres">
      <dgm:prSet presAssocID="{A5317DE7-7E34-4077-9721-E9A2A8C72316}" presName="rootText1" presStyleLbl="node0" presStyleIdx="3" presStyleCnt="4">
        <dgm:presLayoutVars>
          <dgm:chPref val="3"/>
        </dgm:presLayoutVars>
      </dgm:prSet>
      <dgm:spPr/>
    </dgm:pt>
    <dgm:pt modelId="{91A78620-C02A-4214-B6CA-E93FCC058642}" type="pres">
      <dgm:prSet presAssocID="{A5317DE7-7E34-4077-9721-E9A2A8C72316}" presName="rootConnector1" presStyleLbl="node1" presStyleIdx="0" presStyleCnt="0"/>
      <dgm:spPr/>
    </dgm:pt>
    <dgm:pt modelId="{47DB68B3-BD63-40D1-8150-55077DD89A68}" type="pres">
      <dgm:prSet presAssocID="{A5317DE7-7E34-4077-9721-E9A2A8C72316}" presName="hierChild2" presStyleCnt="0"/>
      <dgm:spPr/>
    </dgm:pt>
    <dgm:pt modelId="{0DDE9F1C-A367-4726-9315-E8C31524DD36}" type="pres">
      <dgm:prSet presAssocID="{A5317DE7-7E34-4077-9721-E9A2A8C72316}" presName="hierChild3" presStyleCnt="0"/>
      <dgm:spPr/>
    </dgm:pt>
  </dgm:ptLst>
  <dgm:cxnLst>
    <dgm:cxn modelId="{74DF7605-CBAF-40AD-870B-C394F689CF16}" type="presOf" srcId="{BA7105E4-1B1B-4050-9E12-CB4E682F79B0}" destId="{81034CB8-3BD7-4E16-8F61-304A6CCE31D0}" srcOrd="1" destOrd="0" presId="urn:microsoft.com/office/officeart/2005/8/layout/orgChart1"/>
    <dgm:cxn modelId="{2B6E250D-3D86-48A7-ACEC-1BE016FC4F33}" srcId="{708AF9BC-243E-4B3A-9C1B-BC1BA44B4E55}" destId="{BA7105E4-1B1B-4050-9E12-CB4E682F79B0}" srcOrd="1" destOrd="0" parTransId="{4FE4E52D-1F53-41A6-9A61-FFA6FE95CC1D}" sibTransId="{985B0C8E-BEA9-46E6-9DE7-D5CE3E45649C}"/>
    <dgm:cxn modelId="{956C8E12-BF85-4E27-9440-612925DC03E8}" type="presOf" srcId="{8A3434D6-0B54-465D-8C39-B373F9F1915D}" destId="{7E62F2A4-EBAB-4D1C-AFFC-123B159E248A}" srcOrd="0" destOrd="0" presId="urn:microsoft.com/office/officeart/2005/8/layout/orgChart1"/>
    <dgm:cxn modelId="{C7459321-B38B-4D43-978E-47A957A5A26A}" type="presOf" srcId="{A5317DE7-7E34-4077-9721-E9A2A8C72316}" destId="{B41BF3A0-5F9B-4C4A-AFF8-07F25F44D473}" srcOrd="0" destOrd="0" presId="urn:microsoft.com/office/officeart/2005/8/layout/orgChart1"/>
    <dgm:cxn modelId="{7D65C924-2129-4E74-A53F-E205826B120E}" type="presOf" srcId="{8A3434D6-0B54-465D-8C39-B373F9F1915D}" destId="{41F870AA-ABC2-4E65-9D35-17DE8BC09D69}" srcOrd="1" destOrd="0" presId="urn:microsoft.com/office/officeart/2005/8/layout/orgChart1"/>
    <dgm:cxn modelId="{F79FC844-3274-40F2-8F2E-2E7F13168163}" srcId="{708AF9BC-243E-4B3A-9C1B-BC1BA44B4E55}" destId="{8A3434D6-0B54-465D-8C39-B373F9F1915D}" srcOrd="2" destOrd="0" parTransId="{687680E3-61FB-424F-9E4E-66B472B25968}" sibTransId="{384F4A1C-2831-46F3-80E5-143E80421983}"/>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0E80F1B9-F0CA-493F-9749-1A6644AB17C6}" srcId="{708AF9BC-243E-4B3A-9C1B-BC1BA44B4E55}" destId="{A5317DE7-7E34-4077-9721-E9A2A8C72316}" srcOrd="3" destOrd="0" parTransId="{A3E2BAD5-748F-4750-9E73-6BDAC44922E9}" sibTransId="{02523A9A-2C13-459E-816F-CBE852D7B536}"/>
    <dgm:cxn modelId="{B81A38BB-53FC-4272-9AD4-C1B1DB891058}" type="presOf" srcId="{A5317DE7-7E34-4077-9721-E9A2A8C72316}" destId="{91A78620-C02A-4214-B6CA-E93FCC058642}"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BEE1EBDE-D573-4B36-AD18-F8FA67512D73}" type="presOf" srcId="{BA7105E4-1B1B-4050-9E12-CB4E682F79B0}" destId="{44A7D895-1910-4068-8F24-1EC9C16B09C5}" srcOrd="0" destOrd="0" presId="urn:microsoft.com/office/officeart/2005/8/layout/orgChart1"/>
    <dgm:cxn modelId="{A8B3F2DF-02BB-4432-AA67-3809AA2BC868}" type="presOf" srcId="{4172ACCF-6BB7-459A-817E-82DBD49B6C73}" destId="{F97B187D-AEF7-4D1A-B074-D0C88C75C5C9}"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EDA07657-69D3-4D20-9881-39CB3E27788F}" type="presParOf" srcId="{882847BB-1BFC-4BB3-8D09-D08D54568650}" destId="{A6D45C24-3FE1-40B1-ACD2-B9B53DC356A1}" srcOrd="1" destOrd="0" presId="urn:microsoft.com/office/officeart/2005/8/layout/orgChart1"/>
    <dgm:cxn modelId="{919D44EB-FB78-4F52-BD63-6E1F2A2D1674}" type="presParOf" srcId="{A6D45C24-3FE1-40B1-ACD2-B9B53DC356A1}" destId="{D6EAE264-5556-45E3-A4FC-9B1A47D633B5}" srcOrd="0" destOrd="0" presId="urn:microsoft.com/office/officeart/2005/8/layout/orgChart1"/>
    <dgm:cxn modelId="{77A8DE24-E533-44F2-B97D-DFCE164AC1CF}" type="presParOf" srcId="{D6EAE264-5556-45E3-A4FC-9B1A47D633B5}" destId="{44A7D895-1910-4068-8F24-1EC9C16B09C5}" srcOrd="0" destOrd="0" presId="urn:microsoft.com/office/officeart/2005/8/layout/orgChart1"/>
    <dgm:cxn modelId="{622BD874-AE9C-4754-B945-8DE38BC615FB}" type="presParOf" srcId="{D6EAE264-5556-45E3-A4FC-9B1A47D633B5}" destId="{81034CB8-3BD7-4E16-8F61-304A6CCE31D0}" srcOrd="1" destOrd="0" presId="urn:microsoft.com/office/officeart/2005/8/layout/orgChart1"/>
    <dgm:cxn modelId="{74E2FF08-5512-405E-92B6-31E988C034D4}" type="presParOf" srcId="{A6D45C24-3FE1-40B1-ACD2-B9B53DC356A1}" destId="{05918EBC-E6F2-41DE-80FA-5359F8BD02D7}" srcOrd="1" destOrd="0" presId="urn:microsoft.com/office/officeart/2005/8/layout/orgChart1"/>
    <dgm:cxn modelId="{9C561137-21DC-4609-A6CF-875B8E07C25C}" type="presParOf" srcId="{A6D45C24-3FE1-40B1-ACD2-B9B53DC356A1}" destId="{44C5AD00-F70C-4AFC-9953-5EEDDABB9EC5}" srcOrd="2" destOrd="0" presId="urn:microsoft.com/office/officeart/2005/8/layout/orgChart1"/>
    <dgm:cxn modelId="{43703072-169B-4CCF-89F3-C5B45EBA8EEE}" type="presParOf" srcId="{882847BB-1BFC-4BB3-8D09-D08D54568650}" destId="{3B008B0A-68DF-4629-BD6A-89D302FF7FD5}" srcOrd="2" destOrd="0" presId="urn:microsoft.com/office/officeart/2005/8/layout/orgChart1"/>
    <dgm:cxn modelId="{12682C60-2374-4EE7-835E-ECAA133ED79B}" type="presParOf" srcId="{3B008B0A-68DF-4629-BD6A-89D302FF7FD5}" destId="{DF3D44BC-921B-4080-B6C3-EC30BE428598}" srcOrd="0" destOrd="0" presId="urn:microsoft.com/office/officeart/2005/8/layout/orgChart1"/>
    <dgm:cxn modelId="{9C24914B-C9FD-4E47-8E04-8224AF090E95}" type="presParOf" srcId="{DF3D44BC-921B-4080-B6C3-EC30BE428598}" destId="{7E62F2A4-EBAB-4D1C-AFFC-123B159E248A}" srcOrd="0" destOrd="0" presId="urn:microsoft.com/office/officeart/2005/8/layout/orgChart1"/>
    <dgm:cxn modelId="{4EF7B005-2EB0-494C-B28F-9201ED102C6A}" type="presParOf" srcId="{DF3D44BC-921B-4080-B6C3-EC30BE428598}" destId="{41F870AA-ABC2-4E65-9D35-17DE8BC09D69}" srcOrd="1" destOrd="0" presId="urn:microsoft.com/office/officeart/2005/8/layout/orgChart1"/>
    <dgm:cxn modelId="{C6B1F5C7-2A41-4F80-82C3-25171DA4A485}" type="presParOf" srcId="{3B008B0A-68DF-4629-BD6A-89D302FF7FD5}" destId="{EE34A903-DD41-4D76-AA83-8F0D2BD45549}" srcOrd="1" destOrd="0" presId="urn:microsoft.com/office/officeart/2005/8/layout/orgChart1"/>
    <dgm:cxn modelId="{E47A71FB-A2E2-4BB6-AAF2-91BBD892E814}" type="presParOf" srcId="{3B008B0A-68DF-4629-BD6A-89D302FF7FD5}" destId="{6236136E-4850-4CE1-8C6A-AF319FF1BBD6}" srcOrd="2" destOrd="0" presId="urn:microsoft.com/office/officeart/2005/8/layout/orgChart1"/>
    <dgm:cxn modelId="{28F5128B-01B0-451E-B184-4768F3BBE46E}" type="presParOf" srcId="{882847BB-1BFC-4BB3-8D09-D08D54568650}" destId="{03767371-AA06-41B0-BFAF-438D610A5D80}" srcOrd="3" destOrd="0" presId="urn:microsoft.com/office/officeart/2005/8/layout/orgChart1"/>
    <dgm:cxn modelId="{869B131C-DABA-41E1-BD45-B65B2BF0A2BB}" type="presParOf" srcId="{03767371-AA06-41B0-BFAF-438D610A5D80}" destId="{56E03BB2-0ED4-4ABF-866E-80C66BBC478E}" srcOrd="0" destOrd="0" presId="urn:microsoft.com/office/officeart/2005/8/layout/orgChart1"/>
    <dgm:cxn modelId="{F5FF8DE6-6F43-49A0-B846-514EF53CCA42}" type="presParOf" srcId="{56E03BB2-0ED4-4ABF-866E-80C66BBC478E}" destId="{B41BF3A0-5F9B-4C4A-AFF8-07F25F44D473}" srcOrd="0" destOrd="0" presId="urn:microsoft.com/office/officeart/2005/8/layout/orgChart1"/>
    <dgm:cxn modelId="{BDB7C6FD-A40B-4F00-8EB0-4E94B201BF02}" type="presParOf" srcId="{56E03BB2-0ED4-4ABF-866E-80C66BBC478E}" destId="{91A78620-C02A-4214-B6CA-E93FCC058642}" srcOrd="1" destOrd="0" presId="urn:microsoft.com/office/officeart/2005/8/layout/orgChart1"/>
    <dgm:cxn modelId="{639B28DE-BC09-4069-8D8E-B177E134BE10}" type="presParOf" srcId="{03767371-AA06-41B0-BFAF-438D610A5D80}" destId="{47DB68B3-BD63-40D1-8150-55077DD89A68}" srcOrd="1" destOrd="0" presId="urn:microsoft.com/office/officeart/2005/8/layout/orgChart1"/>
    <dgm:cxn modelId="{9DA07CD5-7C17-46DF-8138-B66215896B4C}" type="presParOf" srcId="{03767371-AA06-41B0-BFAF-438D610A5D80}" destId="{0DDE9F1C-A367-4726-9315-E8C31524DD36}" srcOrd="2" destOrd="0" presId="urn:microsoft.com/office/officeart/2005/8/layout/orgChart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4B00135-BDCD-4403-AFB1-7365945E6E3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53B78706-3517-4662-99A3-EA5BD2EB742C}">
      <dgm:prSet/>
      <dgm:spPr/>
      <dgm:t>
        <a:bodyPr/>
        <a:lstStyle/>
        <a:p>
          <a:r>
            <a:rPr lang="en-GB" dirty="0">
              <a:solidFill>
                <a:schemeClr val="bg1"/>
              </a:solidFill>
            </a:rPr>
            <a:t>IT/Partner teach business</a:t>
          </a:r>
        </a:p>
      </dgm:t>
    </dgm:pt>
    <dgm:pt modelId="{09B91481-FAEF-45F3-A4AB-E427B65DFBA2}" type="parTrans" cxnId="{6074595F-6C8E-4D13-97BA-6E9B239858B9}">
      <dgm:prSet/>
      <dgm:spPr/>
      <dgm:t>
        <a:bodyPr/>
        <a:lstStyle/>
        <a:p>
          <a:endParaRPr lang="en-US"/>
        </a:p>
      </dgm:t>
    </dgm:pt>
    <dgm:pt modelId="{B81DF0A8-8F26-4743-B089-16C298ED93FE}" type="sibTrans" cxnId="{6074595F-6C8E-4D13-97BA-6E9B239858B9}">
      <dgm:prSet/>
      <dgm:spPr/>
      <dgm:t>
        <a:bodyPr/>
        <a:lstStyle/>
        <a:p>
          <a:endParaRPr lang="en-US"/>
        </a:p>
      </dgm:t>
    </dgm:pt>
    <dgm:pt modelId="{79AD0B45-2383-4249-8231-4C3A525B27AD}" type="pres">
      <dgm:prSet presAssocID="{24B00135-BDCD-4403-AFB1-7365945E6E3E}" presName="Name0" presStyleCnt="0">
        <dgm:presLayoutVars>
          <dgm:dir/>
          <dgm:animLvl val="lvl"/>
          <dgm:resizeHandles val="exact"/>
        </dgm:presLayoutVars>
      </dgm:prSet>
      <dgm:spPr/>
    </dgm:pt>
    <dgm:pt modelId="{4BCCEBA1-9A5D-4AE5-8A69-CF65713083B7}" type="pres">
      <dgm:prSet presAssocID="{24B00135-BDCD-4403-AFB1-7365945E6E3E}" presName="dummy" presStyleCnt="0"/>
      <dgm:spPr/>
    </dgm:pt>
    <dgm:pt modelId="{DC0EC77E-3282-4811-8280-A3412AC956D6}" type="pres">
      <dgm:prSet presAssocID="{24B00135-BDCD-4403-AFB1-7365945E6E3E}" presName="linH" presStyleCnt="0"/>
      <dgm:spPr/>
    </dgm:pt>
    <dgm:pt modelId="{97DA7FBB-CD49-4AAE-85CD-5D3CECE0C1C9}" type="pres">
      <dgm:prSet presAssocID="{24B00135-BDCD-4403-AFB1-7365945E6E3E}" presName="padding1" presStyleCnt="0"/>
      <dgm:spPr/>
    </dgm:pt>
    <dgm:pt modelId="{BFEC7827-2974-4686-ABAC-89E3C437BB19}" type="pres">
      <dgm:prSet presAssocID="{53B78706-3517-4662-99A3-EA5BD2EB742C}" presName="linV" presStyleCnt="0"/>
      <dgm:spPr/>
    </dgm:pt>
    <dgm:pt modelId="{AD64F6B9-FB80-43D3-84AE-91B74D0C199D}" type="pres">
      <dgm:prSet presAssocID="{53B78706-3517-4662-99A3-EA5BD2EB742C}" presName="spVertical1" presStyleCnt="0"/>
      <dgm:spPr/>
    </dgm:pt>
    <dgm:pt modelId="{73BD4549-126E-41F1-96FF-945EE352FD3D}" type="pres">
      <dgm:prSet presAssocID="{53B78706-3517-4662-99A3-EA5BD2EB742C}" presName="parTx" presStyleLbl="revTx" presStyleIdx="0" presStyleCnt="1">
        <dgm:presLayoutVars>
          <dgm:chMax val="0"/>
          <dgm:chPref val="0"/>
          <dgm:bulletEnabled val="1"/>
        </dgm:presLayoutVars>
      </dgm:prSet>
      <dgm:spPr/>
    </dgm:pt>
    <dgm:pt modelId="{589B2568-C99B-4A40-90E6-47210E539A71}" type="pres">
      <dgm:prSet presAssocID="{53B78706-3517-4662-99A3-EA5BD2EB742C}" presName="spVertical2" presStyleCnt="0"/>
      <dgm:spPr/>
    </dgm:pt>
    <dgm:pt modelId="{95B06942-62D3-4D51-AEBF-C1F55F518128}" type="pres">
      <dgm:prSet presAssocID="{53B78706-3517-4662-99A3-EA5BD2EB742C}" presName="spVertical3" presStyleCnt="0"/>
      <dgm:spPr/>
    </dgm:pt>
    <dgm:pt modelId="{92A85783-D8C9-4F79-A51E-2C31F55034F3}" type="pres">
      <dgm:prSet presAssocID="{24B00135-BDCD-4403-AFB1-7365945E6E3E}" presName="padding2" presStyleCnt="0"/>
      <dgm:spPr/>
    </dgm:pt>
    <dgm:pt modelId="{017546B4-20ED-4BA5-A16F-793C9F4AB54C}" type="pres">
      <dgm:prSet presAssocID="{24B00135-BDCD-4403-AFB1-7365945E6E3E}" presName="negArrow" presStyleCnt="0"/>
      <dgm:spPr/>
    </dgm:pt>
    <dgm:pt modelId="{BD5BA69B-3BFF-4752-B657-90B44E71EC67}" type="pres">
      <dgm:prSet presAssocID="{24B00135-BDCD-4403-AFB1-7365945E6E3E}" presName="backgroundArrow" presStyleLbl="node1" presStyleIdx="0" presStyleCnt="1" custLinFactNeighborX="-2053" custLinFactNeighborY="-1064"/>
      <dgm:spPr>
        <a:solidFill>
          <a:schemeClr val="tx1"/>
        </a:solidFill>
      </dgm:spPr>
    </dgm:pt>
  </dgm:ptLst>
  <dgm:cxnLst>
    <dgm:cxn modelId="{6074595F-6C8E-4D13-97BA-6E9B239858B9}" srcId="{24B00135-BDCD-4403-AFB1-7365945E6E3E}" destId="{53B78706-3517-4662-99A3-EA5BD2EB742C}" srcOrd="0" destOrd="0" parTransId="{09B91481-FAEF-45F3-A4AB-E427B65DFBA2}" sibTransId="{B81DF0A8-8F26-4743-B089-16C298ED93FE}"/>
    <dgm:cxn modelId="{5B4A6BB2-43A6-4268-A1EA-16673DF27D47}" type="presOf" srcId="{53B78706-3517-4662-99A3-EA5BD2EB742C}" destId="{73BD4549-126E-41F1-96FF-945EE352FD3D}" srcOrd="0" destOrd="0" presId="urn:microsoft.com/office/officeart/2005/8/layout/hProcess3"/>
    <dgm:cxn modelId="{E0F5A5D4-2631-4F65-9EE5-71B39026FCB0}" type="presOf" srcId="{24B00135-BDCD-4403-AFB1-7365945E6E3E}" destId="{79AD0B45-2383-4249-8231-4C3A525B27AD}" srcOrd="0" destOrd="0" presId="urn:microsoft.com/office/officeart/2005/8/layout/hProcess3"/>
    <dgm:cxn modelId="{C9F9635A-C1EC-4633-92BF-B9090110C01E}" type="presParOf" srcId="{79AD0B45-2383-4249-8231-4C3A525B27AD}" destId="{4BCCEBA1-9A5D-4AE5-8A69-CF65713083B7}" srcOrd="0" destOrd="0" presId="urn:microsoft.com/office/officeart/2005/8/layout/hProcess3"/>
    <dgm:cxn modelId="{E27A1D35-3334-42D4-9456-EF0C3B56C0AA}" type="presParOf" srcId="{79AD0B45-2383-4249-8231-4C3A525B27AD}" destId="{DC0EC77E-3282-4811-8280-A3412AC956D6}" srcOrd="1" destOrd="0" presId="urn:microsoft.com/office/officeart/2005/8/layout/hProcess3"/>
    <dgm:cxn modelId="{AF4E3CEE-49B9-4C21-BABD-F024CE97EFEB}" type="presParOf" srcId="{DC0EC77E-3282-4811-8280-A3412AC956D6}" destId="{97DA7FBB-CD49-4AAE-85CD-5D3CECE0C1C9}" srcOrd="0" destOrd="0" presId="urn:microsoft.com/office/officeart/2005/8/layout/hProcess3"/>
    <dgm:cxn modelId="{0FC56C85-C95F-441C-BE0E-3E6C5AE11709}" type="presParOf" srcId="{DC0EC77E-3282-4811-8280-A3412AC956D6}" destId="{BFEC7827-2974-4686-ABAC-89E3C437BB19}" srcOrd="1" destOrd="0" presId="urn:microsoft.com/office/officeart/2005/8/layout/hProcess3"/>
    <dgm:cxn modelId="{7650E9ED-0EEB-4810-9A67-2B25C9BB90E7}" type="presParOf" srcId="{BFEC7827-2974-4686-ABAC-89E3C437BB19}" destId="{AD64F6B9-FB80-43D3-84AE-91B74D0C199D}" srcOrd="0" destOrd="0" presId="urn:microsoft.com/office/officeart/2005/8/layout/hProcess3"/>
    <dgm:cxn modelId="{9799D0FD-2495-4404-860A-DA67428F152D}" type="presParOf" srcId="{BFEC7827-2974-4686-ABAC-89E3C437BB19}" destId="{73BD4549-126E-41F1-96FF-945EE352FD3D}" srcOrd="1" destOrd="0" presId="urn:microsoft.com/office/officeart/2005/8/layout/hProcess3"/>
    <dgm:cxn modelId="{7A4E48CF-56A6-429E-95DE-5FAB194D349C}" type="presParOf" srcId="{BFEC7827-2974-4686-ABAC-89E3C437BB19}" destId="{589B2568-C99B-4A40-90E6-47210E539A71}" srcOrd="2" destOrd="0" presId="urn:microsoft.com/office/officeart/2005/8/layout/hProcess3"/>
    <dgm:cxn modelId="{9165013E-4C75-4FED-B117-304E2EAC6945}" type="presParOf" srcId="{BFEC7827-2974-4686-ABAC-89E3C437BB19}" destId="{95B06942-62D3-4D51-AEBF-C1F55F518128}" srcOrd="3" destOrd="0" presId="urn:microsoft.com/office/officeart/2005/8/layout/hProcess3"/>
    <dgm:cxn modelId="{28C76B12-C0E3-4653-8423-880E06F49148}" type="presParOf" srcId="{DC0EC77E-3282-4811-8280-A3412AC956D6}" destId="{92A85783-D8C9-4F79-A51E-2C31F55034F3}" srcOrd="2" destOrd="0" presId="urn:microsoft.com/office/officeart/2005/8/layout/hProcess3"/>
    <dgm:cxn modelId="{5F8047A5-887A-4A73-8E90-4A249B2C121D}" type="presParOf" srcId="{DC0EC77E-3282-4811-8280-A3412AC956D6}" destId="{017546B4-20ED-4BA5-A16F-793C9F4AB54C}" srcOrd="3" destOrd="0" presId="urn:microsoft.com/office/officeart/2005/8/layout/hProcess3"/>
    <dgm:cxn modelId="{AC4F491D-2079-4972-B919-D06673057741}" type="presParOf" srcId="{DC0EC77E-3282-4811-8280-A3412AC956D6}" destId="{BD5BA69B-3BFF-4752-B657-90B44E71EC67}" srcOrd="4" destOrd="0" presId="urn:microsoft.com/office/officeart/2005/8/layout/h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dirty="0">
              <a:solidFill>
                <a:schemeClr val="tx2"/>
              </a:solidFill>
            </a:rPr>
            <a:t>Power BI can foster a data-driven culture</a:t>
          </a:r>
          <a:endParaRPr lang="en-US" sz="2400" kern="1200" dirty="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US" sz="2400" kern="1200" dirty="0"/>
            <a:t>Opportunity</a:t>
          </a:r>
        </a:p>
      </dsp:txBody>
      <dsp:txXfrm>
        <a:off x="0" y="1405"/>
        <a:ext cx="1963618" cy="1440619"/>
      </dsp:txXfrm>
    </dsp:sp>
    <dsp:sp modelId="{DF963225-B69D-4A74-A4C8-54F6919AC7F8}">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Self-Service BI adoption can be challenging</a:t>
          </a:r>
          <a:endParaRPr lang="en-GB" sz="2400" kern="1200" dirty="0">
            <a:solidFill>
              <a:schemeClr val="bg2"/>
            </a:solidFill>
          </a:endParaRPr>
        </a:p>
      </dsp:txBody>
      <dsp:txXfrm>
        <a:off x="1963618" y="1528462"/>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b="0" i="0" u="none" kern="1200" dirty="0">
              <a:solidFill>
                <a:schemeClr val="bg2"/>
              </a:solidFill>
            </a:rPr>
            <a:t>Challenge</a:t>
          </a:r>
          <a:endParaRPr lang="en-GB" sz="2400" kern="1200" dirty="0">
            <a:solidFill>
              <a:schemeClr val="bg2"/>
            </a:solidFill>
          </a:endParaRPr>
        </a:p>
      </dsp:txBody>
      <dsp:txXfrm>
        <a:off x="0" y="1528462"/>
        <a:ext cx="1963618" cy="1440619"/>
      </dsp:txXfrm>
    </dsp:sp>
    <dsp:sp modelId="{42C6F561-9A42-4F35-A953-44EBD3F69FDE}">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dirty="0">
              <a:solidFill>
                <a:schemeClr val="tx2"/>
              </a:solidFill>
            </a:rPr>
            <a:t>Framework that acts as a wrapper around Power BI to drive a Data Driven Culture</a:t>
          </a:r>
          <a:endParaRPr lang="en-GB" sz="2400" kern="1200" dirty="0">
            <a:solidFill>
              <a:schemeClr val="tx2"/>
            </a:solidFill>
          </a:endParaRPr>
        </a:p>
      </dsp:txBody>
      <dsp:txXfrm>
        <a:off x="1963618" y="3055519"/>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2"/>
              </a:solidFill>
            </a:rPr>
            <a:t>Proposal</a:t>
          </a:r>
        </a:p>
      </dsp:txBody>
      <dsp:txXfrm>
        <a:off x="0" y="3055519"/>
        <a:ext cx="1963618" cy="14406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49D4BB-9078-4A63-B98A-D261CB49B459}">
      <dsp:nvSpPr>
        <dsp:cNvPr id="0" name=""/>
        <dsp:cNvSpPr/>
      </dsp:nvSpPr>
      <dsp:spPr>
        <a:xfrm>
          <a:off x="1150945" y="1217376"/>
          <a:ext cx="1502736" cy="15027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0FB06A-AACA-4CBE-97E4-863F4C084A33}">
      <dsp:nvSpPr>
        <dsp:cNvPr id="0" name=""/>
        <dsp:cNvSpPr/>
      </dsp:nvSpPr>
      <dsp:spPr>
        <a:xfrm>
          <a:off x="232606"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Data Culture</a:t>
          </a:r>
          <a:endParaRPr lang="en-US" sz="2600" kern="1200"/>
        </a:p>
      </dsp:txBody>
      <dsp:txXfrm>
        <a:off x="232606" y="3112460"/>
        <a:ext cx="3339414" cy="720000"/>
      </dsp:txXfrm>
    </dsp:sp>
    <dsp:sp modelId="{907D3017-1203-415E-90DD-76939E3C7734}">
      <dsp:nvSpPr>
        <dsp:cNvPr id="0" name=""/>
        <dsp:cNvSpPr/>
      </dsp:nvSpPr>
      <dsp:spPr>
        <a:xfrm>
          <a:off x="5074756" y="1217376"/>
          <a:ext cx="1502736" cy="15027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DE808C-7170-4DE1-83F2-2CA0020AA758}">
      <dsp:nvSpPr>
        <dsp:cNvPr id="0" name=""/>
        <dsp:cNvSpPr/>
      </dsp:nvSpPr>
      <dsp:spPr>
        <a:xfrm>
          <a:off x="4156417"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Agile BI Mindset</a:t>
          </a:r>
          <a:endParaRPr lang="en-US" sz="2600" kern="1200"/>
        </a:p>
      </dsp:txBody>
      <dsp:txXfrm>
        <a:off x="4156417" y="3112460"/>
        <a:ext cx="3339414" cy="720000"/>
      </dsp:txXfrm>
    </dsp:sp>
    <dsp:sp modelId="{C8DC6501-2CC0-4FEB-9E6C-5EA8B9439192}">
      <dsp:nvSpPr>
        <dsp:cNvPr id="0" name=""/>
        <dsp:cNvSpPr/>
      </dsp:nvSpPr>
      <dsp:spPr>
        <a:xfrm>
          <a:off x="8998568" y="1217376"/>
          <a:ext cx="1502736" cy="15027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A93751-4E2F-4EFD-83B6-48672ED5E393}">
      <dsp:nvSpPr>
        <dsp:cNvPr id="0" name=""/>
        <dsp:cNvSpPr/>
      </dsp:nvSpPr>
      <dsp:spPr>
        <a:xfrm>
          <a:off x="8080229"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Consolidation of Tools</a:t>
          </a:r>
          <a:endParaRPr lang="en-US" sz="2600" kern="1200"/>
        </a:p>
      </dsp:txBody>
      <dsp:txXfrm>
        <a:off x="8080229" y="3112460"/>
        <a:ext cx="3339414" cy="720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B13FB-C175-43C8-9A82-D1F3806A9FD4}">
      <dsp:nvSpPr>
        <dsp:cNvPr id="0" name=""/>
        <dsp:cNvSpPr/>
      </dsp:nvSpPr>
      <dsp:spPr>
        <a:xfrm rot="5400000">
          <a:off x="1950488" y="1229943"/>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4A309D-CD76-47D0-9FEB-D4A4C8104933}">
      <dsp:nvSpPr>
        <dsp:cNvPr id="0" name=""/>
        <dsp:cNvSpPr/>
      </dsp:nvSpPr>
      <dsp:spPr>
        <a:xfrm>
          <a:off x="1751963" y="1821234"/>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Awareness</a:t>
          </a:r>
        </a:p>
        <a:p>
          <a:pPr marL="0" lvl="0" indent="0" algn="ctr" defTabSz="800100">
            <a:lnSpc>
              <a:spcPct val="90000"/>
            </a:lnSpc>
            <a:spcBef>
              <a:spcPct val="0"/>
            </a:spcBef>
            <a:spcAft>
              <a:spcPct val="35000"/>
            </a:spcAft>
            <a:buNone/>
          </a:pPr>
          <a:r>
            <a:rPr lang="en-GB" sz="1400" kern="1200" dirty="0">
              <a:solidFill>
                <a:schemeClr val="tx1"/>
              </a:solidFill>
            </a:rPr>
            <a:t>“Provide Context”</a:t>
          </a:r>
        </a:p>
      </dsp:txBody>
      <dsp:txXfrm>
        <a:off x="1751963" y="1821234"/>
        <a:ext cx="1786639" cy="1566094"/>
      </dsp:txXfrm>
    </dsp:sp>
    <dsp:sp modelId="{A13FD09B-E81E-4C82-ABEB-743DDB7B197F}">
      <dsp:nvSpPr>
        <dsp:cNvPr id="0" name=""/>
        <dsp:cNvSpPr/>
      </dsp:nvSpPr>
      <dsp:spPr>
        <a:xfrm>
          <a:off x="3201500" y="1084248"/>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128CB3-EB23-4448-97A8-7F6DA8EB47A5}">
      <dsp:nvSpPr>
        <dsp:cNvPr id="0" name=""/>
        <dsp:cNvSpPr/>
      </dsp:nvSpPr>
      <dsp:spPr>
        <a:xfrm rot="5400000">
          <a:off x="4137684" y="688720"/>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5C4198-D625-466B-BFF9-B894A694AA10}">
      <dsp:nvSpPr>
        <dsp:cNvPr id="0" name=""/>
        <dsp:cNvSpPr/>
      </dsp:nvSpPr>
      <dsp:spPr>
        <a:xfrm>
          <a:off x="3939158" y="1280010"/>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Understanding</a:t>
          </a:r>
        </a:p>
        <a:p>
          <a:pPr marL="0" lvl="0" indent="0" algn="ctr" defTabSz="800100">
            <a:lnSpc>
              <a:spcPct val="90000"/>
            </a:lnSpc>
            <a:spcBef>
              <a:spcPct val="0"/>
            </a:spcBef>
            <a:spcAft>
              <a:spcPct val="35000"/>
            </a:spcAft>
            <a:buNone/>
          </a:pPr>
          <a:r>
            <a:rPr lang="en-GB" sz="1400" kern="1200" dirty="0">
              <a:solidFill>
                <a:schemeClr val="tx1"/>
              </a:solidFill>
            </a:rPr>
            <a:t>“Create Momentum”</a:t>
          </a:r>
        </a:p>
      </dsp:txBody>
      <dsp:txXfrm>
        <a:off x="3939158" y="1280010"/>
        <a:ext cx="1786639" cy="1566094"/>
      </dsp:txXfrm>
    </dsp:sp>
    <dsp:sp modelId="{42F54CD2-B31B-4819-913D-89EC340297F0}">
      <dsp:nvSpPr>
        <dsp:cNvPr id="0" name=""/>
        <dsp:cNvSpPr/>
      </dsp:nvSpPr>
      <dsp:spPr>
        <a:xfrm>
          <a:off x="5388696" y="543025"/>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5A256-266D-4BE7-AFD3-BCD01C5DAD2B}">
      <dsp:nvSpPr>
        <dsp:cNvPr id="0" name=""/>
        <dsp:cNvSpPr/>
      </dsp:nvSpPr>
      <dsp:spPr>
        <a:xfrm rot="5400000">
          <a:off x="6324879" y="147496"/>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0F3DFB-641A-4E3F-AB78-BBB58F9DA603}">
      <dsp:nvSpPr>
        <dsp:cNvPr id="0" name=""/>
        <dsp:cNvSpPr/>
      </dsp:nvSpPr>
      <dsp:spPr>
        <a:xfrm>
          <a:off x="6126354" y="738786"/>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Enablement</a:t>
          </a:r>
        </a:p>
        <a:p>
          <a:pPr marL="0" lvl="0" indent="0" algn="ctr" defTabSz="800100">
            <a:lnSpc>
              <a:spcPct val="90000"/>
            </a:lnSpc>
            <a:spcBef>
              <a:spcPct val="0"/>
            </a:spcBef>
            <a:spcAft>
              <a:spcPct val="35000"/>
            </a:spcAft>
            <a:buNone/>
          </a:pPr>
          <a:r>
            <a:rPr lang="en-GB" sz="1400" kern="1200" dirty="0">
              <a:solidFill>
                <a:schemeClr val="tx1"/>
              </a:solidFill>
            </a:rPr>
            <a:t>“Increase knowledge, </a:t>
          </a:r>
        </a:p>
        <a:p>
          <a:pPr marL="0" lvl="0" indent="0" algn="ctr" defTabSz="800100">
            <a:lnSpc>
              <a:spcPct val="90000"/>
            </a:lnSpc>
            <a:spcBef>
              <a:spcPct val="0"/>
            </a:spcBef>
            <a:spcAft>
              <a:spcPct val="35000"/>
            </a:spcAft>
            <a:buNone/>
          </a:pPr>
          <a:r>
            <a:rPr lang="en-GB" sz="1400" kern="1200" dirty="0">
              <a:solidFill>
                <a:schemeClr val="tx1"/>
              </a:solidFill>
            </a:rPr>
            <a:t>Provide support”</a:t>
          </a:r>
        </a:p>
      </dsp:txBody>
      <dsp:txXfrm>
        <a:off x="6126354" y="738786"/>
        <a:ext cx="1786639" cy="1566094"/>
      </dsp:txXfrm>
    </dsp:sp>
    <dsp:sp modelId="{81D15E99-D550-4B39-A864-34A6E38FCB65}">
      <dsp:nvSpPr>
        <dsp:cNvPr id="0" name=""/>
        <dsp:cNvSpPr/>
      </dsp:nvSpPr>
      <dsp:spPr>
        <a:xfrm>
          <a:off x="7575891" y="1801"/>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F426B4-E48A-4252-BAAD-B02755E253BB}">
      <dsp:nvSpPr>
        <dsp:cNvPr id="0" name=""/>
        <dsp:cNvSpPr/>
      </dsp:nvSpPr>
      <dsp:spPr>
        <a:xfrm rot="5400000">
          <a:off x="8512075" y="-393727"/>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EFA488-19BB-4254-8BDC-9FD2C7E7B549}">
      <dsp:nvSpPr>
        <dsp:cNvPr id="0" name=""/>
        <dsp:cNvSpPr/>
      </dsp:nvSpPr>
      <dsp:spPr>
        <a:xfrm>
          <a:off x="8313549" y="197563"/>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Adoption</a:t>
          </a:r>
        </a:p>
        <a:p>
          <a:pPr marL="0" lvl="0" indent="0" algn="ctr" defTabSz="800100">
            <a:lnSpc>
              <a:spcPct val="90000"/>
            </a:lnSpc>
            <a:spcBef>
              <a:spcPct val="0"/>
            </a:spcBef>
            <a:spcAft>
              <a:spcPct val="35000"/>
            </a:spcAft>
            <a:buNone/>
          </a:pPr>
          <a:r>
            <a:rPr lang="en-GB" sz="1400" kern="1200" dirty="0">
              <a:solidFill>
                <a:schemeClr val="tx1"/>
              </a:solidFill>
            </a:rPr>
            <a:t>“Change Behaviours”</a:t>
          </a:r>
        </a:p>
      </dsp:txBody>
      <dsp:txXfrm>
        <a:off x="8313549" y="197563"/>
        <a:ext cx="1786639" cy="15660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B8780-D17C-47A7-BFE5-A859BFC90A92}">
      <dsp:nvSpPr>
        <dsp:cNvPr id="0" name=""/>
        <dsp:cNvSpPr/>
      </dsp:nvSpPr>
      <dsp:spPr>
        <a:xfrm>
          <a:off x="0"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Customer Need</a:t>
          </a:r>
          <a:endParaRPr lang="en-GB" sz="2000" kern="1200" dirty="0"/>
        </a:p>
      </dsp:txBody>
      <dsp:txXfrm>
        <a:off x="0" y="416915"/>
        <a:ext cx="3431233" cy="2058740"/>
      </dsp:txXfrm>
    </dsp:sp>
    <dsp:sp modelId="{321E2A76-903A-49F9-8AD7-9C8DCAC8DC0F}">
      <dsp:nvSpPr>
        <dsp:cNvPr id="0" name=""/>
        <dsp:cNvSpPr/>
      </dsp:nvSpPr>
      <dsp:spPr>
        <a:xfrm>
          <a:off x="3774357"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Power BI Whitepapers</a:t>
          </a:r>
          <a:endParaRPr lang="en-GB" sz="2000" kern="1200" dirty="0"/>
        </a:p>
      </dsp:txBody>
      <dsp:txXfrm>
        <a:off x="3774357" y="416915"/>
        <a:ext cx="3431233" cy="2058740"/>
      </dsp:txXfrm>
    </dsp:sp>
    <dsp:sp modelId="{0EB88D22-9476-489B-94B3-4A9139D99A7E}">
      <dsp:nvSpPr>
        <dsp:cNvPr id="0" name=""/>
        <dsp:cNvSpPr/>
      </dsp:nvSpPr>
      <dsp:spPr>
        <a:xfrm>
          <a:off x="7548714"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Power BI Product Group</a:t>
          </a:r>
        </a:p>
      </dsp:txBody>
      <dsp:txXfrm>
        <a:off x="7548714" y="416915"/>
        <a:ext cx="3431233" cy="2058740"/>
      </dsp:txXfrm>
    </dsp:sp>
    <dsp:sp modelId="{5B96E3A4-F3F2-45A8-9730-FC402A2A87C8}">
      <dsp:nvSpPr>
        <dsp:cNvPr id="0" name=""/>
        <dsp:cNvSpPr/>
      </dsp:nvSpPr>
      <dsp:spPr>
        <a:xfrm>
          <a:off x="0"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BI Champs</a:t>
          </a:r>
          <a:endParaRPr lang="en-GB" sz="2000" kern="1200" dirty="0"/>
        </a:p>
      </dsp:txBody>
      <dsp:txXfrm>
        <a:off x="0" y="2818779"/>
        <a:ext cx="3431233" cy="2058740"/>
      </dsp:txXfrm>
    </dsp:sp>
    <dsp:sp modelId="{1E93BFFE-632C-406D-A7EB-B2A7ED8EE135}">
      <dsp:nvSpPr>
        <dsp:cNvPr id="0" name=""/>
        <dsp:cNvSpPr/>
      </dsp:nvSpPr>
      <dsp:spPr>
        <a:xfrm>
          <a:off x="3774357"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a:t>
          </a:r>
          <a:r>
            <a:rPr lang="en-GB" sz="2000" kern="1200" baseline="0" dirty="0"/>
            <a:t>@ Microsoft</a:t>
          </a:r>
          <a:endParaRPr lang="en-GB" sz="2000" kern="1200" dirty="0"/>
        </a:p>
      </dsp:txBody>
      <dsp:txXfrm>
        <a:off x="3774357" y="2818779"/>
        <a:ext cx="3431233" cy="2058740"/>
      </dsp:txXfrm>
    </dsp:sp>
    <dsp:sp modelId="{79D869E6-DB54-4DE4-947C-09BA4B769405}">
      <dsp:nvSpPr>
        <dsp:cNvPr id="0" name=""/>
        <dsp:cNvSpPr/>
      </dsp:nvSpPr>
      <dsp:spPr>
        <a:xfrm>
          <a:off x="7548714"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Customer &amp; Partner Feedback</a:t>
          </a:r>
        </a:p>
      </dsp:txBody>
      <dsp:txXfrm>
        <a:off x="7548714" y="2818779"/>
        <a:ext cx="3431233" cy="20587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ea typeface="+mn-ea"/>
              <a:cs typeface="+mn-cs"/>
            </a:rPr>
            <a:t>Select</a:t>
          </a:r>
          <a:r>
            <a:rPr lang="en-US" sz="2000" kern="1200" dirty="0">
              <a:latin typeface="+mj-lt"/>
            </a:rPr>
            <a:t> a Project</a:t>
          </a:r>
          <a:endParaRPr lang="en-GB" sz="2000" kern="1200" dirty="0">
            <a:latin typeface="+mj-lt"/>
          </a:endParaRPr>
        </a:p>
      </dsp:txBody>
      <dsp:txXfrm>
        <a:off x="4716" y="459074"/>
        <a:ext cx="1967181" cy="983590"/>
      </dsp:txXfrm>
    </dsp:sp>
    <dsp:sp modelId="{5DB35AF2-9F99-41D1-8632-C9180952D400}">
      <dsp:nvSpPr>
        <dsp:cNvPr id="0" name=""/>
        <dsp:cNvSpPr/>
      </dsp:nvSpPr>
      <dsp:spPr>
        <a:xfrm>
          <a:off x="2385005"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option workshop</a:t>
          </a:r>
          <a:endParaRPr lang="en-GB" sz="2000" kern="1200" dirty="0">
            <a:latin typeface="+mj-lt"/>
          </a:endParaRPr>
        </a:p>
      </dsp:txBody>
      <dsp:txXfrm>
        <a:off x="2385005" y="459074"/>
        <a:ext cx="1967181" cy="983590"/>
      </dsp:txXfrm>
    </dsp:sp>
    <dsp:sp modelId="{CEF4917A-2583-498A-ACAC-CF0D58E8F0A6}">
      <dsp:nvSpPr>
        <dsp:cNvPr id="0" name=""/>
        <dsp:cNvSpPr/>
      </dsp:nvSpPr>
      <dsp:spPr>
        <a:xfrm>
          <a:off x="4765294"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dress data quality </a:t>
          </a:r>
          <a:endParaRPr lang="en-GB" sz="2000" kern="1200" dirty="0">
            <a:latin typeface="+mj-lt"/>
          </a:endParaRPr>
        </a:p>
      </dsp:txBody>
      <dsp:txXfrm>
        <a:off x="4765294" y="459074"/>
        <a:ext cx="1967181" cy="983590"/>
      </dsp:txXfrm>
    </dsp:sp>
    <dsp:sp modelId="{477157D4-E55E-4D4B-941F-24801F1D36AC}">
      <dsp:nvSpPr>
        <dsp:cNvPr id="0" name=""/>
        <dsp:cNvSpPr/>
      </dsp:nvSpPr>
      <dsp:spPr>
        <a:xfrm>
          <a:off x="7145583"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Implement Project</a:t>
          </a:r>
          <a:endParaRPr lang="en-GB" sz="2000" kern="1200" dirty="0">
            <a:latin typeface="+mj-lt"/>
          </a:endParaRPr>
        </a:p>
      </dsp:txBody>
      <dsp:txXfrm>
        <a:off x="7145583" y="459074"/>
        <a:ext cx="1967181" cy="9835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27"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Educate Exec Sponsor</a:t>
          </a:r>
          <a:endParaRPr lang="en-GB" sz="2000" kern="1200" dirty="0"/>
        </a:p>
      </dsp:txBody>
      <dsp:txXfrm>
        <a:off x="4727" y="380440"/>
        <a:ext cx="1971806" cy="985903"/>
      </dsp:txXfrm>
    </dsp:sp>
    <dsp:sp modelId="{D850B575-8268-47C9-BA65-19D4C41AF72F}">
      <dsp:nvSpPr>
        <dsp:cNvPr id="0" name=""/>
        <dsp:cNvSpPr/>
      </dsp:nvSpPr>
      <dsp:spPr>
        <a:xfrm>
          <a:off x="2390613"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dentify Champions</a:t>
          </a:r>
          <a:endParaRPr lang="en-GB" sz="2000" kern="1200" dirty="0">
            <a:latin typeface="+mj-lt"/>
          </a:endParaRPr>
        </a:p>
      </dsp:txBody>
      <dsp:txXfrm>
        <a:off x="2390613" y="380440"/>
        <a:ext cx="1971806" cy="985903"/>
      </dsp:txXfrm>
    </dsp:sp>
    <dsp:sp modelId="{4D714C27-05B4-4ED3-A13F-C6955017C71B}">
      <dsp:nvSpPr>
        <dsp:cNvPr id="0" name=""/>
        <dsp:cNvSpPr/>
      </dsp:nvSpPr>
      <dsp:spPr>
        <a:xfrm>
          <a:off x="4776499"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Train pilot team</a:t>
          </a:r>
          <a:endParaRPr lang="en-GB" sz="2000" kern="1200" dirty="0">
            <a:latin typeface="+mj-lt"/>
          </a:endParaRPr>
        </a:p>
      </dsp:txBody>
      <dsp:txXfrm>
        <a:off x="4776499" y="380440"/>
        <a:ext cx="1971806" cy="985903"/>
      </dsp:txXfrm>
    </dsp:sp>
    <dsp:sp modelId="{319A0EE5-FAE2-47D1-9B8C-2CB650E731B7}">
      <dsp:nvSpPr>
        <dsp:cNvPr id="0" name=""/>
        <dsp:cNvSpPr/>
      </dsp:nvSpPr>
      <dsp:spPr>
        <a:xfrm>
          <a:off x="7162385"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Prove value</a:t>
          </a:r>
          <a:endParaRPr lang="en-GB" sz="2000" kern="1200" dirty="0">
            <a:latin typeface="+mj-lt"/>
          </a:endParaRPr>
        </a:p>
      </dsp:txBody>
      <dsp:txXfrm>
        <a:off x="7162385" y="380440"/>
        <a:ext cx="1971806" cy="98590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Centre of Excellence</a:t>
          </a:r>
        </a:p>
      </dsp:txBody>
      <dsp:txXfrm>
        <a:off x="4716" y="423235"/>
        <a:ext cx="1967180" cy="983590"/>
      </dsp:txXfrm>
    </dsp:sp>
    <dsp:sp modelId="{44A7D895-1910-4068-8F24-1EC9C16B09C5}">
      <dsp:nvSpPr>
        <dsp:cNvPr id="0" name=""/>
        <dsp:cNvSpPr/>
      </dsp:nvSpPr>
      <dsp:spPr>
        <a:xfrm>
          <a:off x="2385005"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a:t>
          </a:r>
          <a:r>
            <a:rPr lang="en-GB" sz="2000" kern="1200" dirty="0">
              <a:latin typeface="+mj-lt"/>
            </a:rPr>
            <a:t>marketing</a:t>
          </a:r>
        </a:p>
      </dsp:txBody>
      <dsp:txXfrm>
        <a:off x="2385005" y="423235"/>
        <a:ext cx="1967180" cy="983590"/>
      </dsp:txXfrm>
    </dsp:sp>
    <dsp:sp modelId="{7E62F2A4-EBAB-4D1C-AFFC-123B159E248A}">
      <dsp:nvSpPr>
        <dsp:cNvPr id="0" name=""/>
        <dsp:cNvSpPr/>
      </dsp:nvSpPr>
      <dsp:spPr>
        <a:xfrm>
          <a:off x="4765293"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End user training </a:t>
          </a:r>
        </a:p>
      </dsp:txBody>
      <dsp:txXfrm>
        <a:off x="4765293" y="423235"/>
        <a:ext cx="1967180" cy="983590"/>
      </dsp:txXfrm>
    </dsp:sp>
    <dsp:sp modelId="{B41BF3A0-5F9B-4C4A-AFF8-07F25F44D473}">
      <dsp:nvSpPr>
        <dsp:cNvPr id="0" name=""/>
        <dsp:cNvSpPr/>
      </dsp:nvSpPr>
      <dsp:spPr>
        <a:xfrm>
          <a:off x="7145582"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Internal community</a:t>
          </a:r>
        </a:p>
      </dsp:txBody>
      <dsp:txXfrm>
        <a:off x="7145582" y="423235"/>
        <a:ext cx="1967180" cy="9835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A69B-3BFF-4752-B657-90B44E71EC67}">
      <dsp:nvSpPr>
        <dsp:cNvPr id="0" name=""/>
        <dsp:cNvSpPr/>
      </dsp:nvSpPr>
      <dsp:spPr>
        <a:xfrm>
          <a:off x="0" y="0"/>
          <a:ext cx="3438673" cy="1440000"/>
        </a:xfrm>
        <a:prstGeom prst="rightArrow">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BD4549-126E-41F1-96FF-945EE352FD3D}">
      <dsp:nvSpPr>
        <dsp:cNvPr id="0" name=""/>
        <dsp:cNvSpPr/>
      </dsp:nvSpPr>
      <dsp:spPr>
        <a:xfrm>
          <a:off x="277377" y="360866"/>
          <a:ext cx="28174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0" rIns="0" bIns="203200" numCol="1" spcCol="1270" anchor="ctr" anchorCtr="0">
          <a:noAutofit/>
        </a:bodyPr>
        <a:lstStyle/>
        <a:p>
          <a:pPr marL="0" lvl="0" indent="0" algn="ctr" defTabSz="889000">
            <a:lnSpc>
              <a:spcPct val="90000"/>
            </a:lnSpc>
            <a:spcBef>
              <a:spcPct val="0"/>
            </a:spcBef>
            <a:spcAft>
              <a:spcPct val="35000"/>
            </a:spcAft>
            <a:buNone/>
          </a:pPr>
          <a:r>
            <a:rPr lang="en-GB" sz="2000" kern="1200" dirty="0">
              <a:solidFill>
                <a:schemeClr val="bg1"/>
              </a:solidFill>
            </a:rPr>
            <a:t>IT/Partner teach business</a:t>
          </a:r>
        </a:p>
      </dsp:txBody>
      <dsp:txXfrm>
        <a:off x="277377" y="360866"/>
        <a:ext cx="2817428" cy="720000"/>
      </dsp:txXfrm>
    </dsp:sp>
  </dsp:spTree>
</dsp:drawing>
</file>

<file path=ppt/diagrams/layout1.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11/7/2019</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11/7/2019</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B2D09C-E420-4905-8E74-B16C64801357}" type="slidenum">
              <a:rPr lang="en-US" smtClean="0"/>
              <a:t>1</a:t>
            </a:fld>
            <a:endParaRPr lang="en-US" dirty="0"/>
          </a:p>
        </p:txBody>
      </p:sp>
    </p:spTree>
    <p:extLst>
      <p:ext uri="{BB962C8B-B14F-4D97-AF65-F5344CB8AC3E}">
        <p14:creationId xmlns:p14="http://schemas.microsoft.com/office/powerpoint/2010/main" val="2187378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1385016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sz="1200" b="1"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00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3209100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3460626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311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5</a:t>
            </a:fld>
            <a:endParaRPr lang="en-US" dirty="0"/>
          </a:p>
        </p:txBody>
      </p:sp>
    </p:spTree>
    <p:extLst>
      <p:ext uri="{BB962C8B-B14F-4D97-AF65-F5344CB8AC3E}">
        <p14:creationId xmlns:p14="http://schemas.microsoft.com/office/powerpoint/2010/main" val="1659726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GB"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7/2019 2:4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2587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7/2019 2: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383199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8</a:t>
            </a:fld>
            <a:endParaRPr lang="en-US" dirty="0"/>
          </a:p>
        </p:txBody>
      </p:sp>
    </p:spTree>
    <p:extLst>
      <p:ext uri="{BB962C8B-B14F-4D97-AF65-F5344CB8AC3E}">
        <p14:creationId xmlns:p14="http://schemas.microsoft.com/office/powerpoint/2010/main" val="949591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42488861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486" y="2863031"/>
            <a:ext cx="3056653" cy="1112622"/>
          </a:xfrm>
          <a:prstGeom prst="rect">
            <a:avLst/>
          </a:prstGeom>
        </p:spPr>
      </p:pic>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173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417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82206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92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939" y="199344"/>
            <a:ext cx="1527557" cy="556031"/>
          </a:xfrm>
          <a:prstGeom prst="rect">
            <a:avLst/>
          </a:prstGeom>
        </p:spPr>
      </p:pic>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dirty="0"/>
          </a:p>
        </p:txBody>
      </p:sp>
    </p:spTree>
    <p:extLst>
      <p:ext uri="{BB962C8B-B14F-4D97-AF65-F5344CB8AC3E}">
        <p14:creationId xmlns:p14="http://schemas.microsoft.com/office/powerpoint/2010/main" val="375925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699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190117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870717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1252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dirty="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445481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dirty="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4053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3888" r:id="rId2"/>
    <p:sldLayoutId id="2147483890" r:id="rId3"/>
    <p:sldLayoutId id="2147483919" r:id="rId4"/>
    <p:sldLayoutId id="2147483920" r:id="rId5"/>
    <p:sldLayoutId id="2147483922" r:id="rId6"/>
    <p:sldLayoutId id="2147483925" r:id="rId7"/>
    <p:sldLayoutId id="2147483894" r:id="rId8"/>
    <p:sldLayoutId id="2147483895" r:id="rId9"/>
    <p:sldLayoutId id="2147483876" r:id="rId10"/>
    <p:sldLayoutId id="2147483984" r:id="rId11"/>
    <p:sldLayoutId id="2147484112" r:id="rId12"/>
    <p:sldLayoutId id="2147484115" r:id="rId13"/>
    <p:sldLayoutId id="2147484134"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0.xml"/><Relationship Id="rId7" Type="http://schemas.openxmlformats.org/officeDocument/2006/relationships/diagramColors" Target="../diagrams/colors8.xml"/><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12.xml"/><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6.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5.xml"/><Relationship Id="rId7" Type="http://schemas.openxmlformats.org/officeDocument/2006/relationships/diagramColors" Target="../diagrams/colors3.xml"/><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slideLayout" Target="../slideLayouts/slideLayout12.xml"/><Relationship Id="rId16" Type="http://schemas.openxmlformats.org/officeDocument/2006/relationships/image" Target="../media/image23.png"/><Relationship Id="rId1" Type="http://schemas.openxmlformats.org/officeDocument/2006/relationships/tags" Target="../tags/tag8.xml"/><Relationship Id="rId6" Type="http://schemas.openxmlformats.org/officeDocument/2006/relationships/image" Target="../media/image13.svg"/><Relationship Id="rId11" Type="http://schemas.openxmlformats.org/officeDocument/2006/relationships/image" Target="../media/image18.svg"/><Relationship Id="rId5" Type="http://schemas.openxmlformats.org/officeDocument/2006/relationships/image" Target="../media/image12.png"/><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notesSlide" Target="../notesSlides/notesSlide9.xml"/><Relationship Id="rId21" Type="http://schemas.openxmlformats.org/officeDocument/2006/relationships/diagramLayout" Target="../diagrams/layout7.xml"/><Relationship Id="rId7" Type="http://schemas.openxmlformats.org/officeDocument/2006/relationships/image" Target="../media/image30.svg"/><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slideLayout" Target="../slideLayouts/slideLayout11.xml"/><Relationship Id="rId16" Type="http://schemas.openxmlformats.org/officeDocument/2006/relationships/diagramLayout" Target="../diagrams/layout6.xml"/><Relationship Id="rId20" Type="http://schemas.openxmlformats.org/officeDocument/2006/relationships/diagramData" Target="../diagrams/data7.xml"/><Relationship Id="rId1" Type="http://schemas.openxmlformats.org/officeDocument/2006/relationships/tags" Target="../tags/tag9.xml"/><Relationship Id="rId6" Type="http://schemas.openxmlformats.org/officeDocument/2006/relationships/image" Target="../media/image29.png"/><Relationship Id="rId11" Type="http://schemas.openxmlformats.org/officeDocument/2006/relationships/diagramLayout" Target="../diagrams/layout5.xml"/><Relationship Id="rId24" Type="http://schemas.microsoft.com/office/2007/relationships/diagramDrawing" Target="../diagrams/drawing7.xml"/><Relationship Id="rId5" Type="http://schemas.openxmlformats.org/officeDocument/2006/relationships/image" Target="../media/image28.svg"/><Relationship Id="rId15" Type="http://schemas.openxmlformats.org/officeDocument/2006/relationships/diagramData" Target="../diagrams/data6.xml"/><Relationship Id="rId23" Type="http://schemas.openxmlformats.org/officeDocument/2006/relationships/diagramColors" Target="../diagrams/colors7.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image" Target="../media/image27.png"/><Relationship Id="rId9" Type="http://schemas.openxmlformats.org/officeDocument/2006/relationships/image" Target="../media/image32.svg"/><Relationship Id="rId14" Type="http://schemas.microsoft.com/office/2007/relationships/diagramDrawing" Target="../diagrams/drawing5.xml"/><Relationship Id="rId22"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ctrTitle"/>
          </p:nvPr>
        </p:nvSpPr>
        <p:spPr>
          <a:xfrm>
            <a:off x="1080999" y="1170446"/>
            <a:ext cx="9788342" cy="2387600"/>
          </a:xfrm>
        </p:spPr>
        <p:txBody>
          <a:bodyPr>
            <a:normAutofit/>
          </a:bodyPr>
          <a:lstStyle/>
          <a:p>
            <a:pPr algn="l"/>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t>
            </a:r>
            <a:r>
              <a:rPr lang="en-US" sz="5400" dirty="0">
                <a:solidFill>
                  <a:srgbClr val="282828"/>
                </a:solidFill>
                <a:latin typeface="Segoe UI Light" panose="020B0502040204020203" pitchFamily="34" charset="0"/>
                <a:cs typeface="Segoe UI Light" panose="020B0502040204020203" pitchFamily="34" charset="0"/>
              </a:rPr>
              <a:t>Adoption Framework</a:t>
            </a:r>
            <a:endParaRPr lang="en-US" sz="4800" dirty="0">
              <a:solidFill>
                <a:srgbClr val="282828"/>
              </a:solidFill>
              <a:latin typeface="Segoe UI Light" panose="020B0502040204020203" pitchFamily="34" charset="0"/>
              <a:cs typeface="Segoe UI Light" panose="020B0502040204020203" pitchFamily="34" charset="0"/>
            </a:endParaRPr>
          </a:p>
        </p:txBody>
      </p:sp>
      <p:sp>
        <p:nvSpPr>
          <p:cNvPr id="4" name="Subtitle 2">
            <a:extLst>
              <a:ext uri="{FF2B5EF4-FFF2-40B4-BE49-F238E27FC236}">
                <a16:creationId xmlns:a16="http://schemas.microsoft.com/office/drawing/2014/main" id="{AC1E7656-E20F-406F-86AF-94364F704489}"/>
              </a:ext>
            </a:extLst>
          </p:cNvPr>
          <p:cNvSpPr>
            <a:spLocks noGrp="1"/>
          </p:cNvSpPr>
          <p:nvPr>
            <p:ph type="subTitle" idx="1"/>
          </p:nvPr>
        </p:nvSpPr>
        <p:spPr>
          <a:xfrm>
            <a:off x="1201829" y="3039204"/>
            <a:ext cx="9788342" cy="2648350"/>
          </a:xfrm>
        </p:spPr>
        <p:txBody>
          <a:bodyPr>
            <a:normAutofit/>
          </a:bodyPr>
          <a:lstStyle/>
          <a:p>
            <a:r>
              <a:rPr lang="en-US" sz="1800" dirty="0"/>
              <a:t>Empower every decision maker</a:t>
            </a:r>
          </a:p>
          <a:p>
            <a:r>
              <a:rPr lang="en-US" sz="1800" dirty="0"/>
              <a:t>Overview of the series</a:t>
            </a:r>
          </a:p>
          <a:p>
            <a:endParaRPr lang="en-US" dirty="0"/>
          </a:p>
        </p:txBody>
      </p:sp>
    </p:spTree>
    <p:custDataLst>
      <p:tags r:id="rId1"/>
    </p:custDataLst>
    <p:extLst>
      <p:ext uri="{BB962C8B-B14F-4D97-AF65-F5344CB8AC3E}">
        <p14:creationId xmlns:p14="http://schemas.microsoft.com/office/powerpoint/2010/main" val="697906019"/>
      </p:ext>
    </p:extLst>
  </p:cSld>
  <p:clrMapOvr>
    <a:masterClrMapping/>
  </p:clrMapOvr>
  <mc:AlternateContent xmlns:mc="http://schemas.openxmlformats.org/markup-compatibility/2006" xmlns:p14="http://schemas.microsoft.com/office/powerpoint/2010/main">
    <mc:Choice Requires="p14">
      <p:transition spd="med" p14:dur="700" advTm="13453">
        <p:fade/>
      </p:transition>
    </mc:Choice>
    <mc:Fallback xmlns="">
      <p:transition spd="med" advTm="13453">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Right 16">
            <a:extLst>
              <a:ext uri="{FF2B5EF4-FFF2-40B4-BE49-F238E27FC236}">
                <a16:creationId xmlns:a16="http://schemas.microsoft.com/office/drawing/2014/main" id="{E0958B6B-F67E-4B1B-B56B-653EBD2D0147}"/>
              </a:ext>
            </a:extLst>
          </p:cNvPr>
          <p:cNvSpPr/>
          <p:nvPr/>
        </p:nvSpPr>
        <p:spPr>
          <a:xfrm>
            <a:off x="5884223" y="1176529"/>
            <a:ext cx="3741401" cy="1411693"/>
          </a:xfrm>
          <a:prstGeom prst="rightArrow">
            <a:avLst/>
          </a:prstGeom>
          <a:solidFill>
            <a:schemeClr val="tx1"/>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nchor="ctr"/>
          <a:lstStyle/>
          <a:p>
            <a:pPr algn="ctr"/>
            <a:r>
              <a:rPr lang="en-GB" sz="1961" dirty="0">
                <a:solidFill>
                  <a:schemeClr val="bg1"/>
                </a:solidFill>
              </a:rPr>
              <a:t>Business teach Business</a:t>
            </a:r>
          </a:p>
        </p:txBody>
      </p:sp>
      <p:sp>
        <p:nvSpPr>
          <p:cNvPr id="2" name="Title 1"/>
          <p:cNvSpPr>
            <a:spLocks noGrp="1"/>
          </p:cNvSpPr>
          <p:nvPr>
            <p:ph type="title"/>
          </p:nvPr>
        </p:nvSpPr>
        <p:spPr/>
        <p:txBody>
          <a:bodyPr/>
          <a:lstStyle/>
          <a:p>
            <a:r>
              <a:rPr lang="en-GB" dirty="0"/>
              <a:t>Engagement Model</a:t>
            </a:r>
          </a:p>
        </p:txBody>
      </p:sp>
      <p:sp>
        <p:nvSpPr>
          <p:cNvPr id="3" name="Rectangle 2"/>
          <p:cNvSpPr/>
          <p:nvPr/>
        </p:nvSpPr>
        <p:spPr bwMode="auto">
          <a:xfrm>
            <a:off x="3235688" y="2733444"/>
            <a:ext cx="1520854" cy="14417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50% Business</a:t>
            </a:r>
          </a:p>
        </p:txBody>
      </p:sp>
      <p:sp>
        <p:nvSpPr>
          <p:cNvPr id="5" name="Rectangle 4"/>
          <p:cNvSpPr/>
          <p:nvPr/>
        </p:nvSpPr>
        <p:spPr bwMode="auto">
          <a:xfrm>
            <a:off x="3235688" y="4280670"/>
            <a:ext cx="1520854" cy="14778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50% </a:t>
            </a:r>
            <a:r>
              <a:rPr lang="en-GB" sz="2000" dirty="0">
                <a:solidFill>
                  <a:schemeClr val="bg1"/>
                </a:solidFill>
                <a:latin typeface="Segoe UI"/>
                <a:ea typeface="Segoe UI" pitchFamily="34" charset="0"/>
                <a:cs typeface="Segoe UI" pitchFamily="34" charset="0"/>
              </a:rPr>
              <a:t>IT/Partner</a:t>
            </a:r>
            <a:endParaRPr lang="en-GB" sz="2400" dirty="0">
              <a:solidFill>
                <a:schemeClr val="bg1"/>
              </a:solidFill>
              <a:latin typeface="Segoe UI"/>
              <a:ea typeface="Segoe UI" pitchFamily="34" charset="0"/>
              <a:cs typeface="Segoe UI" pitchFamily="34" charset="0"/>
            </a:endParaRPr>
          </a:p>
        </p:txBody>
      </p:sp>
      <p:sp>
        <p:nvSpPr>
          <p:cNvPr id="6" name="Rectangle 5"/>
          <p:cNvSpPr/>
          <p:nvPr/>
        </p:nvSpPr>
        <p:spPr bwMode="auto">
          <a:xfrm>
            <a:off x="5321275" y="2733444"/>
            <a:ext cx="1520854" cy="200436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75% Business</a:t>
            </a:r>
          </a:p>
        </p:txBody>
      </p:sp>
      <p:sp>
        <p:nvSpPr>
          <p:cNvPr id="7" name="Rectangle 6"/>
          <p:cNvSpPr/>
          <p:nvPr/>
        </p:nvSpPr>
        <p:spPr bwMode="auto">
          <a:xfrm>
            <a:off x="5321275" y="4860880"/>
            <a:ext cx="1520854" cy="897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25% </a:t>
            </a:r>
            <a:r>
              <a:rPr lang="en-GB" sz="2000" dirty="0">
                <a:solidFill>
                  <a:schemeClr val="bg1"/>
                </a:solidFill>
                <a:latin typeface="Segoe UI"/>
                <a:ea typeface="Segoe UI" pitchFamily="34" charset="0"/>
                <a:cs typeface="Segoe UI" pitchFamily="34" charset="0"/>
              </a:rPr>
              <a:t>IT/Partner</a:t>
            </a:r>
            <a:endParaRPr lang="en-GB" sz="2400" dirty="0">
              <a:solidFill>
                <a:schemeClr val="bg1"/>
              </a:solidFill>
              <a:latin typeface="Segoe UI"/>
              <a:ea typeface="Segoe UI" pitchFamily="34" charset="0"/>
              <a:cs typeface="Segoe UI" pitchFamily="34" charset="0"/>
            </a:endParaRPr>
          </a:p>
        </p:txBody>
      </p:sp>
      <p:sp>
        <p:nvSpPr>
          <p:cNvPr id="8" name="Rectangle 7"/>
          <p:cNvSpPr/>
          <p:nvPr/>
        </p:nvSpPr>
        <p:spPr bwMode="auto">
          <a:xfrm>
            <a:off x="7406861" y="2733444"/>
            <a:ext cx="1520854" cy="24238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90% Business</a:t>
            </a:r>
          </a:p>
        </p:txBody>
      </p:sp>
      <p:sp>
        <p:nvSpPr>
          <p:cNvPr id="9" name="Rectangle 8"/>
          <p:cNvSpPr/>
          <p:nvPr/>
        </p:nvSpPr>
        <p:spPr bwMode="auto">
          <a:xfrm>
            <a:off x="7406861" y="5264830"/>
            <a:ext cx="1520854" cy="4937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dirty="0">
                <a:solidFill>
                  <a:schemeClr val="bg1"/>
                </a:solidFill>
                <a:latin typeface="Segoe UI"/>
                <a:ea typeface="Segoe UI" pitchFamily="34" charset="0"/>
                <a:cs typeface="Segoe UI" pitchFamily="34" charset="0"/>
              </a:rPr>
              <a:t>10% IT/Partner</a:t>
            </a:r>
          </a:p>
        </p:txBody>
      </p:sp>
      <p:graphicFrame>
        <p:nvGraphicFramePr>
          <p:cNvPr id="12" name="Diagram 11"/>
          <p:cNvGraphicFramePr/>
          <p:nvPr/>
        </p:nvGraphicFramePr>
        <p:xfrm>
          <a:off x="2848746" y="1172639"/>
          <a:ext cx="3438673" cy="1441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3020303" y="5971219"/>
            <a:ext cx="1967247" cy="634443"/>
          </a:xfrm>
          <a:prstGeom prst="rect">
            <a:avLst/>
          </a:prstGeom>
          <a:noFill/>
        </p:spPr>
        <p:txBody>
          <a:bodyPr wrap="none" lIns="182854" tIns="146284" rIns="182854" bIns="146284" rtlCol="0">
            <a:spAutoFit/>
          </a:bodyPr>
          <a:lstStyle/>
          <a:p>
            <a:pPr>
              <a:lnSpc>
                <a:spcPct val="90000"/>
              </a:lnSpc>
              <a:spcAft>
                <a:spcPts val="600"/>
              </a:spcAft>
            </a:pPr>
            <a:r>
              <a:rPr lang="en-GB" sz="2400" dirty="0"/>
              <a:t>Enablement</a:t>
            </a:r>
          </a:p>
        </p:txBody>
      </p:sp>
      <p:sp>
        <p:nvSpPr>
          <p:cNvPr id="13" name="TextBox 12"/>
          <p:cNvSpPr txBox="1"/>
          <p:nvPr/>
        </p:nvSpPr>
        <p:spPr>
          <a:xfrm>
            <a:off x="5346092" y="5971219"/>
            <a:ext cx="1471376" cy="627824"/>
          </a:xfrm>
          <a:prstGeom prst="rect">
            <a:avLst/>
          </a:prstGeom>
          <a:solidFill>
            <a:schemeClr val="bg1"/>
          </a:solidFill>
        </p:spPr>
        <p:txBody>
          <a:bodyPr wrap="none" lIns="182854" tIns="146284" rIns="182854" bIns="146284" rtlCol="0">
            <a:spAutoFit/>
          </a:bodyPr>
          <a:lstStyle/>
          <a:p>
            <a:pPr>
              <a:lnSpc>
                <a:spcPct val="90000"/>
              </a:lnSpc>
              <a:spcAft>
                <a:spcPts val="600"/>
              </a:spcAft>
            </a:pPr>
            <a:r>
              <a:rPr lang="en-GB" sz="2400" dirty="0"/>
              <a:t>Support</a:t>
            </a:r>
          </a:p>
        </p:txBody>
      </p:sp>
      <p:sp>
        <p:nvSpPr>
          <p:cNvPr id="14" name="TextBox 13"/>
          <p:cNvSpPr txBox="1"/>
          <p:nvPr/>
        </p:nvSpPr>
        <p:spPr>
          <a:xfrm>
            <a:off x="7350010" y="5971219"/>
            <a:ext cx="1640281" cy="634443"/>
          </a:xfrm>
          <a:prstGeom prst="rect">
            <a:avLst/>
          </a:prstGeom>
          <a:noFill/>
        </p:spPr>
        <p:txBody>
          <a:bodyPr wrap="none" lIns="182854" tIns="146284" rIns="182854" bIns="146284" rtlCol="0">
            <a:spAutoFit/>
          </a:bodyPr>
          <a:lstStyle/>
          <a:p>
            <a:pPr>
              <a:lnSpc>
                <a:spcPct val="90000"/>
              </a:lnSpc>
              <a:spcAft>
                <a:spcPts val="600"/>
              </a:spcAft>
            </a:pPr>
            <a:r>
              <a:rPr lang="en-GB" sz="2400" dirty="0"/>
              <a:t>Guidance</a:t>
            </a:r>
          </a:p>
        </p:txBody>
      </p:sp>
    </p:spTree>
    <p:custDataLst>
      <p:tags r:id="rId1"/>
    </p:custDataLst>
    <p:extLst>
      <p:ext uri="{BB962C8B-B14F-4D97-AF65-F5344CB8AC3E}">
        <p14:creationId xmlns:p14="http://schemas.microsoft.com/office/powerpoint/2010/main" val="106197359"/>
      </p:ext>
    </p:extLst>
  </p:cSld>
  <p:clrMapOvr>
    <a:masterClrMapping/>
  </p:clrMapOvr>
  <mc:AlternateContent xmlns:mc="http://schemas.openxmlformats.org/markup-compatibility/2006" xmlns:p14="http://schemas.microsoft.com/office/powerpoint/2010/main">
    <mc:Choice Requires="p14">
      <p:transition spd="med" p14:dur="700" advTm="41841">
        <p:fade/>
      </p:transition>
    </mc:Choice>
    <mc:Fallback xmlns="">
      <p:transition spd="med" advTm="41841">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29040" y="123622"/>
            <a:ext cx="1119148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dirty="0">
                <a:solidFill>
                  <a:srgbClr val="000000"/>
                </a:solidFill>
                <a:latin typeface="Segoe UI"/>
                <a:cs typeface="Segoe UI Light" panose="020B0502040204020203" pitchFamily="34" charset="0"/>
              </a:rPr>
              <a:t>Adoption Framework Schedule</a:t>
            </a:r>
            <a:endParaRPr lang="en-US" sz="2000" dirty="0">
              <a:solidFill>
                <a:srgbClr val="000000"/>
              </a:solidFill>
              <a:latin typeface="Segoe UI"/>
            </a:endParaRPr>
          </a:p>
        </p:txBody>
      </p:sp>
      <p:sp>
        <p:nvSpPr>
          <p:cNvPr id="13" name="Rectangle 12">
            <a:extLst>
              <a:ext uri="{FF2B5EF4-FFF2-40B4-BE49-F238E27FC236}">
                <a16:creationId xmlns:a16="http://schemas.microsoft.com/office/drawing/2014/main" id="{61796897-A20C-4AA1-A8F3-8F7769CBB545}"/>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t>
            </a:r>
          </a:p>
        </p:txBody>
      </p:sp>
      <p:grpSp>
        <p:nvGrpSpPr>
          <p:cNvPr id="18" name="Group 17">
            <a:extLst>
              <a:ext uri="{FF2B5EF4-FFF2-40B4-BE49-F238E27FC236}">
                <a16:creationId xmlns:a16="http://schemas.microsoft.com/office/drawing/2014/main" id="{3DD0D653-06BC-4D56-95E0-170874921D69}"/>
              </a:ext>
            </a:extLst>
          </p:cNvPr>
          <p:cNvGrpSpPr/>
          <p:nvPr/>
        </p:nvGrpSpPr>
        <p:grpSpPr>
          <a:xfrm>
            <a:off x="3202514" y="4778642"/>
            <a:ext cx="2747302" cy="738690"/>
            <a:chOff x="5954577" y="5278852"/>
            <a:chExt cx="2356024" cy="738690"/>
          </a:xfrm>
        </p:grpSpPr>
        <p:sp>
          <p:nvSpPr>
            <p:cNvPr id="19" name="Speech Bubble: Rectangle 18">
              <a:extLst>
                <a:ext uri="{FF2B5EF4-FFF2-40B4-BE49-F238E27FC236}">
                  <a16:creationId xmlns:a16="http://schemas.microsoft.com/office/drawing/2014/main" id="{5E812313-807C-40A9-ABBF-B129AED45BB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Rectangle 19">
              <a:extLst>
                <a:ext uri="{FF2B5EF4-FFF2-40B4-BE49-F238E27FC236}">
                  <a16:creationId xmlns:a16="http://schemas.microsoft.com/office/drawing/2014/main" id="{82D61A1D-C835-4E9B-8B86-B239A6E384F3}"/>
                </a:ext>
              </a:extLst>
            </p:cNvPr>
            <p:cNvSpPr/>
            <p:nvPr/>
          </p:nvSpPr>
          <p:spPr>
            <a:xfrm>
              <a:off x="5954577" y="5449913"/>
              <a:ext cx="2356024" cy="369332"/>
            </a:xfrm>
            <a:prstGeom prst="rect">
              <a:avLst/>
            </a:prstGeom>
            <a:ln>
              <a:noFill/>
            </a:ln>
          </p:spPr>
          <p:txBody>
            <a:bodyPr wrap="square">
              <a:spAutoFit/>
            </a:bodyPr>
            <a:lstStyle/>
            <a:p>
              <a:pPr lvl="0" algn="ctr"/>
              <a:r>
                <a:rPr lang="en-GB" dirty="0"/>
                <a:t>Documentation</a:t>
              </a:r>
            </a:p>
          </p:txBody>
        </p:sp>
      </p:grpSp>
      <p:sp>
        <p:nvSpPr>
          <p:cNvPr id="23" name="Circle: Hollow 22">
            <a:extLst>
              <a:ext uri="{FF2B5EF4-FFF2-40B4-BE49-F238E27FC236}">
                <a16:creationId xmlns:a16="http://schemas.microsoft.com/office/drawing/2014/main" id="{80A7E25C-3F20-474A-BE64-137EB72FACCA}"/>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nvGrpSpPr>
          <p:cNvPr id="28" name="Group 27">
            <a:extLst>
              <a:ext uri="{FF2B5EF4-FFF2-40B4-BE49-F238E27FC236}">
                <a16:creationId xmlns:a16="http://schemas.microsoft.com/office/drawing/2014/main" id="{76A0B8C1-FCC2-4710-8805-3A7B4F862CA2}"/>
              </a:ext>
            </a:extLst>
          </p:cNvPr>
          <p:cNvGrpSpPr/>
          <p:nvPr/>
        </p:nvGrpSpPr>
        <p:grpSpPr>
          <a:xfrm>
            <a:off x="8687482" y="4778642"/>
            <a:ext cx="2747302" cy="738690"/>
            <a:chOff x="5954577" y="5278852"/>
            <a:chExt cx="2356024" cy="738690"/>
          </a:xfrm>
        </p:grpSpPr>
        <p:sp>
          <p:nvSpPr>
            <p:cNvPr id="29" name="Speech Bubble: Rectangle 28">
              <a:extLst>
                <a:ext uri="{FF2B5EF4-FFF2-40B4-BE49-F238E27FC236}">
                  <a16:creationId xmlns:a16="http://schemas.microsoft.com/office/drawing/2014/main" id="{3FD3DCC4-2498-4657-82F5-4C5490F0C0D4}"/>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0" name="Rectangle 29">
              <a:extLst>
                <a:ext uri="{FF2B5EF4-FFF2-40B4-BE49-F238E27FC236}">
                  <a16:creationId xmlns:a16="http://schemas.microsoft.com/office/drawing/2014/main" id="{C32E5034-124A-409C-A04D-BBDDC12BD91C}"/>
                </a:ext>
              </a:extLst>
            </p:cNvPr>
            <p:cNvSpPr/>
            <p:nvPr/>
          </p:nvSpPr>
          <p:spPr>
            <a:xfrm>
              <a:off x="5954577" y="5449913"/>
              <a:ext cx="2356024" cy="369332"/>
            </a:xfrm>
            <a:prstGeom prst="rect">
              <a:avLst/>
            </a:prstGeom>
            <a:ln>
              <a:noFill/>
            </a:ln>
          </p:spPr>
          <p:txBody>
            <a:bodyPr wrap="square">
              <a:spAutoFit/>
            </a:bodyPr>
            <a:lstStyle/>
            <a:p>
              <a:pPr lvl="0" algn="ctr"/>
              <a:r>
                <a:rPr lang="en-GB" dirty="0"/>
                <a:t>Plan</a:t>
              </a:r>
            </a:p>
          </p:txBody>
        </p:sp>
      </p:grpSp>
      <p:grpSp>
        <p:nvGrpSpPr>
          <p:cNvPr id="31" name="Group 30">
            <a:extLst>
              <a:ext uri="{FF2B5EF4-FFF2-40B4-BE49-F238E27FC236}">
                <a16:creationId xmlns:a16="http://schemas.microsoft.com/office/drawing/2014/main" id="{DD0BE762-A7DB-4652-A5E8-DC81F2938EA7}"/>
              </a:ext>
            </a:extLst>
          </p:cNvPr>
          <p:cNvGrpSpPr/>
          <p:nvPr/>
        </p:nvGrpSpPr>
        <p:grpSpPr>
          <a:xfrm flipV="1">
            <a:off x="460030" y="2029074"/>
            <a:ext cx="2747302" cy="738690"/>
            <a:chOff x="5954577" y="5278852"/>
            <a:chExt cx="2356024" cy="738690"/>
          </a:xfrm>
        </p:grpSpPr>
        <p:sp>
          <p:nvSpPr>
            <p:cNvPr id="32" name="Speech Bubble: Rectangle 31">
              <a:extLst>
                <a:ext uri="{FF2B5EF4-FFF2-40B4-BE49-F238E27FC236}">
                  <a16:creationId xmlns:a16="http://schemas.microsoft.com/office/drawing/2014/main" id="{5E37293D-2D13-4C86-AE83-D1E8A6D7838E}"/>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3" name="Rectangle 32">
              <a:extLst>
                <a:ext uri="{FF2B5EF4-FFF2-40B4-BE49-F238E27FC236}">
                  <a16:creationId xmlns:a16="http://schemas.microsoft.com/office/drawing/2014/main" id="{CD4E26F9-D3B1-4D81-8D5A-2153A4DB2020}"/>
                </a:ext>
              </a:extLst>
            </p:cNvPr>
            <p:cNvSpPr/>
            <p:nvPr/>
          </p:nvSpPr>
          <p:spPr>
            <a:xfrm flipV="1">
              <a:off x="5954577" y="5449913"/>
              <a:ext cx="2356024" cy="369332"/>
            </a:xfrm>
            <a:prstGeom prst="rect">
              <a:avLst/>
            </a:prstGeom>
            <a:ln>
              <a:noFill/>
            </a:ln>
          </p:spPr>
          <p:txBody>
            <a:bodyPr wrap="square">
              <a:spAutoFit/>
            </a:bodyPr>
            <a:lstStyle/>
            <a:p>
              <a:pPr lvl="0" algn="ctr"/>
              <a:r>
                <a:rPr lang="en-GB" dirty="0"/>
                <a:t>Workshops</a:t>
              </a:r>
            </a:p>
          </p:txBody>
        </p:sp>
      </p:grpSp>
      <p:grpSp>
        <p:nvGrpSpPr>
          <p:cNvPr id="35" name="Group 34">
            <a:extLst>
              <a:ext uri="{FF2B5EF4-FFF2-40B4-BE49-F238E27FC236}">
                <a16:creationId xmlns:a16="http://schemas.microsoft.com/office/drawing/2014/main" id="{CC9DBB52-D1CA-470C-898C-8B08BF1F7FEB}"/>
              </a:ext>
            </a:extLst>
          </p:cNvPr>
          <p:cNvGrpSpPr/>
          <p:nvPr/>
        </p:nvGrpSpPr>
        <p:grpSpPr>
          <a:xfrm flipV="1">
            <a:off x="5944998" y="2029074"/>
            <a:ext cx="2747302" cy="738690"/>
            <a:chOff x="5954577" y="5278852"/>
            <a:chExt cx="2356024" cy="738690"/>
          </a:xfrm>
        </p:grpSpPr>
        <p:sp>
          <p:nvSpPr>
            <p:cNvPr id="36" name="Speech Bubble: Rectangle 35">
              <a:extLst>
                <a:ext uri="{FF2B5EF4-FFF2-40B4-BE49-F238E27FC236}">
                  <a16:creationId xmlns:a16="http://schemas.microsoft.com/office/drawing/2014/main" id="{CCE004AC-8BD3-4395-ABD5-7C59DD70677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tangle 36">
              <a:extLst>
                <a:ext uri="{FF2B5EF4-FFF2-40B4-BE49-F238E27FC236}">
                  <a16:creationId xmlns:a16="http://schemas.microsoft.com/office/drawing/2014/main" id="{B0B93A65-BE74-47D5-BAE4-2B1FDFE280EE}"/>
                </a:ext>
              </a:extLst>
            </p:cNvPr>
            <p:cNvSpPr/>
            <p:nvPr/>
          </p:nvSpPr>
          <p:spPr>
            <a:xfrm flipV="1">
              <a:off x="5954577" y="5449913"/>
              <a:ext cx="2356024" cy="369332"/>
            </a:xfrm>
            <a:prstGeom prst="rect">
              <a:avLst/>
            </a:prstGeom>
            <a:ln>
              <a:noFill/>
            </a:ln>
          </p:spPr>
          <p:txBody>
            <a:bodyPr wrap="square">
              <a:spAutoFit/>
            </a:bodyPr>
            <a:lstStyle/>
            <a:p>
              <a:pPr lvl="0" algn="ctr"/>
              <a:r>
                <a:rPr lang="en-GB" dirty="0"/>
                <a:t>Follow-up Discussions</a:t>
              </a:r>
            </a:p>
          </p:txBody>
        </p:sp>
      </p:grpSp>
    </p:spTree>
    <p:custDataLst>
      <p:tags r:id="rId1"/>
    </p:custDataLst>
    <p:extLst>
      <p:ext uri="{BB962C8B-B14F-4D97-AF65-F5344CB8AC3E}">
        <p14:creationId xmlns:p14="http://schemas.microsoft.com/office/powerpoint/2010/main" val="2975486681"/>
      </p:ext>
    </p:extLst>
  </p:cSld>
  <p:clrMapOvr>
    <a:masterClrMapping/>
  </p:clrMapOvr>
  <p:transition advTm="6523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63" presetClass="path" presetSubtype="0" accel="50000" decel="50000" fill="hold" grpId="0" nodeType="clickEffect">
                                  <p:stCondLst>
                                    <p:cond delay="0"/>
                                  </p:stCondLst>
                                  <p:childTnLst>
                                    <p:animMotion origin="layout" path="M 0.00339 0.00024 L 0.23737 -0.00115 " pathEditMode="relative" rAng="0" ptsTypes="AA">
                                      <p:cBhvr>
                                        <p:cTn id="13" dur="2000" fill="hold"/>
                                        <p:tgtEl>
                                          <p:spTgt spid="23"/>
                                        </p:tgtEl>
                                        <p:attrNameLst>
                                          <p:attrName>ppt_x</p:attrName>
                                          <p:attrName>ppt_y</p:attrName>
                                        </p:attrNameLst>
                                      </p:cBhvr>
                                      <p:rCtr x="11693" y="-69"/>
                                    </p:animMotion>
                                  </p:childTnLst>
                                </p:cTn>
                              </p:par>
                              <p:par>
                                <p:cTn id="14" presetID="1"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63" presetClass="path" presetSubtype="0" accel="50000" decel="50000" fill="hold" grpId="1" nodeType="clickEffect">
                                  <p:stCondLst>
                                    <p:cond delay="0"/>
                                  </p:stCondLst>
                                  <p:childTnLst>
                                    <p:animMotion origin="layout" path="M 0.23737 -0.00115 L 0.46016 -0.00254 " pathEditMode="relative" rAng="0" ptsTypes="AA">
                                      <p:cBhvr>
                                        <p:cTn id="19" dur="2000" fill="hold"/>
                                        <p:tgtEl>
                                          <p:spTgt spid="23"/>
                                        </p:tgtEl>
                                        <p:attrNameLst>
                                          <p:attrName>ppt_x</p:attrName>
                                          <p:attrName>ppt_y</p:attrName>
                                        </p:attrNameLst>
                                      </p:cBhvr>
                                      <p:rCtr x="11263" y="-69"/>
                                    </p:animMotion>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63" presetClass="path" presetSubtype="0" accel="50000" decel="50000" fill="hold" grpId="2" nodeType="clickEffect">
                                  <p:stCondLst>
                                    <p:cond delay="0"/>
                                  </p:stCondLst>
                                  <p:childTnLst>
                                    <p:animMotion origin="layout" path="M 0.46015 -0.00254 L 0.6806 0.00047 " pathEditMode="relative" rAng="0" ptsTypes="AA">
                                      <p:cBhvr>
                                        <p:cTn id="25" dur="2000" fill="hold"/>
                                        <p:tgtEl>
                                          <p:spTgt spid="23"/>
                                        </p:tgtEl>
                                        <p:attrNameLst>
                                          <p:attrName>ppt_x</p:attrName>
                                          <p:attrName>ppt_y</p:attrName>
                                        </p:attrNameLst>
                                      </p:cBhvr>
                                      <p:rCtr x="11263" y="69"/>
                                    </p:animMotion>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3" grpId="2" animBg="1"/>
      <p:bldP spid="23" grpId="3"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0000"/>
                </a:solidFill>
                <a:effectLst/>
                <a:uLnTx/>
                <a:uFillTx/>
                <a:latin typeface="Segoe UI"/>
                <a:ea typeface="+mn-ea"/>
                <a:cs typeface="Segoe UI Light" panose="020B0502040204020203" pitchFamily="34" charset="0"/>
              </a:rPr>
              <a:t>Adoption Framework - Outputs</a:t>
            </a:r>
            <a:endParaRPr kumimoji="0" lang="en-US" sz="2000" b="0" i="0" u="none" strike="noStrike" kern="1200" cap="none" spc="-102" normalizeH="0" baseline="0" noProof="0" dirty="0">
              <a:ln w="3175">
                <a:noFill/>
              </a:ln>
              <a:solidFill>
                <a:srgbClr val="000000"/>
              </a:soli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Tree>
    <p:custDataLst>
      <p:tags r:id="rId1"/>
    </p:custDataLst>
    <p:extLst>
      <p:ext uri="{BB962C8B-B14F-4D97-AF65-F5344CB8AC3E}">
        <p14:creationId xmlns:p14="http://schemas.microsoft.com/office/powerpoint/2010/main" val="1281131488"/>
      </p:ext>
    </p:extLst>
  </p:cSld>
  <p:clrMapOvr>
    <a:masterClrMapping/>
  </p:clrMapOvr>
  <mc:AlternateContent xmlns:mc="http://schemas.openxmlformats.org/markup-compatibility/2006" xmlns:p14="http://schemas.microsoft.com/office/powerpoint/2010/main">
    <mc:Choice Requires="p14">
      <p:transition spd="med" p14:dur="700" advTm="47616">
        <p:fade/>
      </p:transition>
    </mc:Choice>
    <mc:Fallback xmlns="">
      <p:transition spd="med" advTm="476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36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89223637"/>
      </p:ext>
    </p:extLst>
  </p:cSld>
  <p:clrMapOvr>
    <a:masterClrMapping/>
  </p:clrMapOvr>
  <mc:AlternateContent xmlns:mc="http://schemas.openxmlformats.org/markup-compatibility/2006" xmlns:p14="http://schemas.microsoft.com/office/powerpoint/2010/main">
    <mc:Choice Requires="p14">
      <p:transition spd="med" p14:dur="700" advTm="30358">
        <p:fade/>
      </p:transition>
    </mc:Choice>
    <mc:Fallback xmlns="">
      <p:transition spd="med" advTm="30358">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8EC5DB-D239-4549-B63A-29CA4C83EF32}"/>
              </a:ext>
            </a:extLst>
          </p:cNvPr>
          <p:cNvSpPr>
            <a:spLocks noGrp="1"/>
          </p:cNvSpPr>
          <p:nvPr>
            <p:ph type="title"/>
          </p:nvPr>
        </p:nvSpPr>
        <p:spPr/>
        <p:txBody>
          <a:bodyPr/>
          <a:lstStyle/>
          <a:p>
            <a:r>
              <a:rPr lang="en-GB" dirty="0"/>
              <a:t>Why care about Power BI Adoption?</a:t>
            </a:r>
          </a:p>
        </p:txBody>
      </p:sp>
      <p:graphicFrame>
        <p:nvGraphicFramePr>
          <p:cNvPr id="8" name="Content Placeholder 2">
            <a:extLst>
              <a:ext uri="{FF2B5EF4-FFF2-40B4-BE49-F238E27FC236}">
                <a16:creationId xmlns:a16="http://schemas.microsoft.com/office/drawing/2014/main" id="{CE2D0A55-920F-4E85-979A-BD5E525A2A63}"/>
              </a:ext>
            </a:extLst>
          </p:cNvPr>
          <p:cNvGraphicFramePr>
            <a:graphicFrameLocks noGrp="1"/>
          </p:cNvGraphicFramePr>
          <p:nvPr>
            <p:ph idx="4294967295"/>
          </p:nvPr>
        </p:nvGraphicFramePr>
        <p:xfrm>
          <a:off x="0" y="1808163"/>
          <a:ext cx="11652250" cy="504983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63933846"/>
      </p:ext>
    </p:extLst>
  </p:cSld>
  <p:clrMapOvr>
    <a:masterClrMapping/>
  </p:clrMapOvr>
  <mc:AlternateContent xmlns:mc="http://schemas.openxmlformats.org/markup-compatibility/2006" xmlns:p14="http://schemas.microsoft.com/office/powerpoint/2010/main">
    <mc:Choice Requires="p14">
      <p:transition spd="med" p14:dur="700" advTm="105871">
        <p:fade/>
      </p:transition>
    </mc:Choice>
    <mc:Fallback xmlns="">
      <p:transition spd="med" advTm="10587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6649D4BB-9078-4A63-B98A-D261CB49B459}"/>
                                            </p:graphicEl>
                                          </p:spTgt>
                                        </p:tgtEl>
                                        <p:attrNameLst>
                                          <p:attrName>style.visibility</p:attrName>
                                        </p:attrNameLst>
                                      </p:cBhvr>
                                      <p:to>
                                        <p:strVal val="visible"/>
                                      </p:to>
                                    </p:set>
                                    <p:animEffect transition="in" filter="fade">
                                      <p:cBhvr>
                                        <p:cTn id="7" dur="500"/>
                                        <p:tgtEl>
                                          <p:spTgt spid="8">
                                            <p:graphicEl>
                                              <a:dgm id="{6649D4BB-9078-4A63-B98A-D261CB49B45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DF0FB06A-AACA-4CBE-97E4-863F4C084A33}"/>
                                            </p:graphicEl>
                                          </p:spTgt>
                                        </p:tgtEl>
                                        <p:attrNameLst>
                                          <p:attrName>style.visibility</p:attrName>
                                        </p:attrNameLst>
                                      </p:cBhvr>
                                      <p:to>
                                        <p:strVal val="visible"/>
                                      </p:to>
                                    </p:set>
                                    <p:animEffect transition="in" filter="fade">
                                      <p:cBhvr>
                                        <p:cTn id="10" dur="500"/>
                                        <p:tgtEl>
                                          <p:spTgt spid="8">
                                            <p:graphicEl>
                                              <a:dgm id="{DF0FB06A-AACA-4CBE-97E4-863F4C084A33}"/>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907D3017-1203-415E-90DD-76939E3C7734}"/>
                                            </p:graphicEl>
                                          </p:spTgt>
                                        </p:tgtEl>
                                        <p:attrNameLst>
                                          <p:attrName>style.visibility</p:attrName>
                                        </p:attrNameLst>
                                      </p:cBhvr>
                                      <p:to>
                                        <p:strVal val="visible"/>
                                      </p:to>
                                    </p:set>
                                    <p:animEffect transition="in" filter="fade">
                                      <p:cBhvr>
                                        <p:cTn id="15" dur="500"/>
                                        <p:tgtEl>
                                          <p:spTgt spid="8">
                                            <p:graphicEl>
                                              <a:dgm id="{907D3017-1203-415E-90DD-76939E3C7734}"/>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5EDE808C-7170-4DE1-83F2-2CA0020AA758}"/>
                                            </p:graphicEl>
                                          </p:spTgt>
                                        </p:tgtEl>
                                        <p:attrNameLst>
                                          <p:attrName>style.visibility</p:attrName>
                                        </p:attrNameLst>
                                      </p:cBhvr>
                                      <p:to>
                                        <p:strVal val="visible"/>
                                      </p:to>
                                    </p:set>
                                    <p:animEffect transition="in" filter="fade">
                                      <p:cBhvr>
                                        <p:cTn id="18" dur="500"/>
                                        <p:tgtEl>
                                          <p:spTgt spid="8">
                                            <p:graphicEl>
                                              <a:dgm id="{5EDE808C-7170-4DE1-83F2-2CA0020AA758}"/>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C8DC6501-2CC0-4FEB-9E6C-5EA8B9439192}"/>
                                            </p:graphicEl>
                                          </p:spTgt>
                                        </p:tgtEl>
                                        <p:attrNameLst>
                                          <p:attrName>style.visibility</p:attrName>
                                        </p:attrNameLst>
                                      </p:cBhvr>
                                      <p:to>
                                        <p:strVal val="visible"/>
                                      </p:to>
                                    </p:set>
                                    <p:animEffect transition="in" filter="fade">
                                      <p:cBhvr>
                                        <p:cTn id="23" dur="500"/>
                                        <p:tgtEl>
                                          <p:spTgt spid="8">
                                            <p:graphicEl>
                                              <a:dgm id="{C8DC6501-2CC0-4FEB-9E6C-5EA8B9439192}"/>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0DA93751-4E2F-4EFD-83B6-48672ED5E393}"/>
                                            </p:graphicEl>
                                          </p:spTgt>
                                        </p:tgtEl>
                                        <p:attrNameLst>
                                          <p:attrName>style.visibility</p:attrName>
                                        </p:attrNameLst>
                                      </p:cBhvr>
                                      <p:to>
                                        <p:strVal val="visible"/>
                                      </p:to>
                                    </p:set>
                                    <p:animEffect transition="in" filter="fade">
                                      <p:cBhvr>
                                        <p:cTn id="26" dur="500"/>
                                        <p:tgtEl>
                                          <p:spTgt spid="8">
                                            <p:graphicEl>
                                              <a:dgm id="{0DA93751-4E2F-4EFD-83B6-48672ED5E39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3529" dirty="0"/>
              <a:t>IT transformation is dependent on behaviour change…</a:t>
            </a:r>
          </a:p>
        </p:txBody>
      </p:sp>
      <p:sp>
        <p:nvSpPr>
          <p:cNvPr id="4" name="TextBox 3">
            <a:extLst>
              <a:ext uri="{FF2B5EF4-FFF2-40B4-BE49-F238E27FC236}">
                <a16:creationId xmlns:a16="http://schemas.microsoft.com/office/drawing/2014/main" id="{C04DD070-E784-475D-A2F7-E79F69840101}"/>
              </a:ext>
            </a:extLst>
          </p:cNvPr>
          <p:cNvSpPr txBox="1"/>
          <p:nvPr/>
        </p:nvSpPr>
        <p:spPr>
          <a:xfrm>
            <a:off x="1" y="5829144"/>
            <a:ext cx="12190271" cy="880463"/>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179259" tIns="143407" rIns="179259" bIns="143407" rtlCol="0">
            <a:spAutoFit/>
          </a:bodyPr>
          <a:lstStyle/>
          <a:p>
            <a:pPr algn="ctr" defTabSz="914287">
              <a:lnSpc>
                <a:spcPct val="120000"/>
              </a:lnSpc>
            </a:pPr>
            <a:r>
              <a:rPr lang="en-US" sz="3137" dirty="0">
                <a:solidFill>
                  <a:schemeClr val="tx2"/>
                </a:solidFill>
                <a:latin typeface="Segoe UI Light"/>
              </a:rPr>
              <a:t>…but </a:t>
            </a:r>
            <a:r>
              <a:rPr lang="en-US" sz="3137" dirty="0" err="1">
                <a:solidFill>
                  <a:schemeClr val="tx2"/>
                </a:solidFill>
                <a:latin typeface="Segoe UI Light"/>
              </a:rPr>
              <a:t>behaviour</a:t>
            </a:r>
            <a:r>
              <a:rPr lang="en-US" sz="3137" dirty="0">
                <a:solidFill>
                  <a:schemeClr val="tx2"/>
                </a:solidFill>
                <a:latin typeface="Segoe UI Light"/>
              </a:rPr>
              <a:t> change is</a:t>
            </a:r>
            <a:r>
              <a:rPr lang="en-US" sz="3137" dirty="0">
                <a:solidFill>
                  <a:schemeClr val="tx1"/>
                </a:solidFill>
                <a:latin typeface="Segoe UI Light"/>
              </a:rPr>
              <a:t> </a:t>
            </a:r>
            <a:r>
              <a:rPr lang="en-US" sz="3137" dirty="0">
                <a:solidFill>
                  <a:srgbClr val="FF0000"/>
                </a:solidFill>
                <a:latin typeface="Segoe UI Light"/>
              </a:rPr>
              <a:t>DISCRETIONARY</a:t>
            </a:r>
            <a:endParaRPr lang="en-AU" sz="3137" i="1" dirty="0">
              <a:solidFill>
                <a:srgbClr val="FF0000"/>
              </a:solidFill>
              <a:latin typeface="Segoe UI Light"/>
              <a:cs typeface="Segoe UI Light" panose="020B0502040204020203" pitchFamily="34" charset="0"/>
            </a:endParaRPr>
          </a:p>
        </p:txBody>
      </p:sp>
      <p:pic>
        <p:nvPicPr>
          <p:cNvPr id="2" name="Picture 1">
            <a:extLst>
              <a:ext uri="{FF2B5EF4-FFF2-40B4-BE49-F238E27FC236}">
                <a16:creationId xmlns:a16="http://schemas.microsoft.com/office/drawing/2014/main" id="{4A9A72CE-D08A-4CD8-97E6-4192CCBE5266}"/>
              </a:ext>
            </a:extLst>
          </p:cNvPr>
          <p:cNvPicPr>
            <a:picLocks noChangeAspect="1"/>
          </p:cNvPicPr>
          <p:nvPr/>
        </p:nvPicPr>
        <p:blipFill>
          <a:blip r:embed="rId4"/>
          <a:stretch>
            <a:fillRect/>
          </a:stretch>
        </p:blipFill>
        <p:spPr>
          <a:xfrm>
            <a:off x="1083934" y="1311226"/>
            <a:ext cx="9671169" cy="4652500"/>
          </a:xfrm>
          <a:prstGeom prst="rect">
            <a:avLst/>
          </a:prstGeom>
        </p:spPr>
      </p:pic>
    </p:spTree>
    <p:custDataLst>
      <p:tags r:id="rId1"/>
    </p:custDataLst>
    <p:extLst>
      <p:ext uri="{BB962C8B-B14F-4D97-AF65-F5344CB8AC3E}">
        <p14:creationId xmlns:p14="http://schemas.microsoft.com/office/powerpoint/2010/main" val="963256894"/>
      </p:ext>
    </p:extLst>
  </p:cSld>
  <p:clrMapOvr>
    <a:masterClrMapping/>
  </p:clrMapOvr>
  <mc:AlternateContent xmlns:mc="http://schemas.openxmlformats.org/markup-compatibility/2006" xmlns:p14="http://schemas.microsoft.com/office/powerpoint/2010/main">
    <mc:Choice Requires="p14">
      <p:transition spd="med" p14:dur="700" advTm="63018">
        <p:fade/>
      </p:transition>
    </mc:Choice>
    <mc:Fallback xmlns="">
      <p:transition spd="med" advTm="63018">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ges of Technology Adoption</a:t>
            </a:r>
          </a:p>
        </p:txBody>
      </p:sp>
      <p:sp>
        <p:nvSpPr>
          <p:cNvPr id="3" name="Content Placeholder 2"/>
          <p:cNvSpPr>
            <a:spLocks noGrp="1"/>
          </p:cNvSpPr>
          <p:nvPr>
            <p:ph idx="4294967295"/>
          </p:nvPr>
        </p:nvSpPr>
        <p:spPr>
          <a:xfrm>
            <a:off x="1014413" y="4291013"/>
            <a:ext cx="11177587" cy="3640137"/>
          </a:xfrm>
        </p:spPr>
        <p:txBody>
          <a:bodyPr anchor="ctr">
            <a:normAutofit/>
          </a:bodyPr>
          <a:lstStyle/>
          <a:p>
            <a:endParaRPr lang="en-US" sz="2000" dirty="0"/>
          </a:p>
          <a:p>
            <a:endParaRPr lang="en-US" sz="2000" dirty="0"/>
          </a:p>
        </p:txBody>
      </p:sp>
      <p:graphicFrame>
        <p:nvGraphicFramePr>
          <p:cNvPr id="6" name="Diagram 5">
            <a:extLst>
              <a:ext uri="{FF2B5EF4-FFF2-40B4-BE49-F238E27FC236}">
                <a16:creationId xmlns:a16="http://schemas.microsoft.com/office/drawing/2014/main" id="{D3814804-2E8D-4F79-B752-AFA60860947F}"/>
              </a:ext>
            </a:extLst>
          </p:cNvPr>
          <p:cNvGraphicFramePr/>
          <p:nvPr/>
        </p:nvGraphicFramePr>
        <p:xfrm>
          <a:off x="-108882" y="2722642"/>
          <a:ext cx="11655840" cy="3388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74517301"/>
      </p:ext>
    </p:extLst>
  </p:cSld>
  <p:clrMapOvr>
    <a:masterClrMapping/>
  </p:clrMapOvr>
  <mc:AlternateContent xmlns:mc="http://schemas.openxmlformats.org/markup-compatibility/2006" xmlns:p14="http://schemas.microsoft.com/office/powerpoint/2010/main">
    <mc:Choice Requires="p14">
      <p:transition spd="med" p14:dur="700" advTm="85459">
        <p:fade/>
      </p:transition>
    </mc:Choice>
    <mc:Fallback xmlns="">
      <p:transition spd="med" advTm="8545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9E8B13FB-C175-43C8-9A82-D1F3806A9FD4}"/>
                                            </p:graphicEl>
                                          </p:spTgt>
                                        </p:tgtEl>
                                        <p:attrNameLst>
                                          <p:attrName>style.visibility</p:attrName>
                                        </p:attrNameLst>
                                      </p:cBhvr>
                                      <p:to>
                                        <p:strVal val="visible"/>
                                      </p:to>
                                    </p:set>
                                    <p:animEffect transition="in" filter="fade">
                                      <p:cBhvr>
                                        <p:cTn id="7" dur="500"/>
                                        <p:tgtEl>
                                          <p:spTgt spid="6">
                                            <p:graphicEl>
                                              <a:dgm id="{9E8B13FB-C175-43C8-9A82-D1F3806A9FD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graphicEl>
                                              <a:dgm id="{A13FD09B-E81E-4C82-ABEB-743DDB7B197F}"/>
                                            </p:graphicEl>
                                          </p:spTgt>
                                        </p:tgtEl>
                                        <p:attrNameLst>
                                          <p:attrName>style.visibility</p:attrName>
                                        </p:attrNameLst>
                                      </p:cBhvr>
                                      <p:to>
                                        <p:strVal val="visible"/>
                                      </p:to>
                                    </p:set>
                                    <p:animEffect transition="in" filter="fade">
                                      <p:cBhvr>
                                        <p:cTn id="10" dur="500"/>
                                        <p:tgtEl>
                                          <p:spTgt spid="6">
                                            <p:graphicEl>
                                              <a:dgm id="{A13FD09B-E81E-4C82-ABEB-743DDB7B197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graphicEl>
                                              <a:dgm id="{824A309D-CD76-47D0-9FEB-D4A4C8104933}"/>
                                            </p:graphicEl>
                                          </p:spTgt>
                                        </p:tgtEl>
                                        <p:attrNameLst>
                                          <p:attrName>style.visibility</p:attrName>
                                        </p:attrNameLst>
                                      </p:cBhvr>
                                      <p:to>
                                        <p:strVal val="visible"/>
                                      </p:to>
                                    </p:set>
                                    <p:animEffect transition="in" filter="fade">
                                      <p:cBhvr>
                                        <p:cTn id="13" dur="500"/>
                                        <p:tgtEl>
                                          <p:spTgt spid="6">
                                            <p:graphicEl>
                                              <a:dgm id="{824A309D-CD76-47D0-9FEB-D4A4C8104933}"/>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graphicEl>
                                              <a:dgm id="{42F54CD2-B31B-4819-913D-89EC340297F0}"/>
                                            </p:graphicEl>
                                          </p:spTgt>
                                        </p:tgtEl>
                                        <p:attrNameLst>
                                          <p:attrName>style.visibility</p:attrName>
                                        </p:attrNameLst>
                                      </p:cBhvr>
                                      <p:to>
                                        <p:strVal val="visible"/>
                                      </p:to>
                                    </p:set>
                                    <p:animEffect transition="in" filter="fade">
                                      <p:cBhvr>
                                        <p:cTn id="18" dur="500"/>
                                        <p:tgtEl>
                                          <p:spTgt spid="6">
                                            <p:graphicEl>
                                              <a:dgm id="{42F54CD2-B31B-4819-913D-89EC340297F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graphicEl>
                                              <a:dgm id="{02128CB3-EB23-4448-97A8-7F6DA8EB47A5}"/>
                                            </p:graphicEl>
                                          </p:spTgt>
                                        </p:tgtEl>
                                        <p:attrNameLst>
                                          <p:attrName>style.visibility</p:attrName>
                                        </p:attrNameLst>
                                      </p:cBhvr>
                                      <p:to>
                                        <p:strVal val="visible"/>
                                      </p:to>
                                    </p:set>
                                    <p:animEffect transition="in" filter="fade">
                                      <p:cBhvr>
                                        <p:cTn id="21" dur="500"/>
                                        <p:tgtEl>
                                          <p:spTgt spid="6">
                                            <p:graphicEl>
                                              <a:dgm id="{02128CB3-EB23-4448-97A8-7F6DA8EB47A5}"/>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graphicEl>
                                              <a:dgm id="{675C4198-D625-466B-BFF9-B894A694AA10}"/>
                                            </p:graphicEl>
                                          </p:spTgt>
                                        </p:tgtEl>
                                        <p:attrNameLst>
                                          <p:attrName>style.visibility</p:attrName>
                                        </p:attrNameLst>
                                      </p:cBhvr>
                                      <p:to>
                                        <p:strVal val="visible"/>
                                      </p:to>
                                    </p:set>
                                    <p:animEffect transition="in" filter="fade">
                                      <p:cBhvr>
                                        <p:cTn id="24" dur="500"/>
                                        <p:tgtEl>
                                          <p:spTgt spid="6">
                                            <p:graphicEl>
                                              <a:dgm id="{675C4198-D625-466B-BFF9-B894A694AA10}"/>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graphicEl>
                                              <a:dgm id="{81D15E99-D550-4B39-A864-34A6E38FCB65}"/>
                                            </p:graphicEl>
                                          </p:spTgt>
                                        </p:tgtEl>
                                        <p:attrNameLst>
                                          <p:attrName>style.visibility</p:attrName>
                                        </p:attrNameLst>
                                      </p:cBhvr>
                                      <p:to>
                                        <p:strVal val="visible"/>
                                      </p:to>
                                    </p:set>
                                    <p:animEffect transition="in" filter="fade">
                                      <p:cBhvr>
                                        <p:cTn id="29" dur="500"/>
                                        <p:tgtEl>
                                          <p:spTgt spid="6">
                                            <p:graphicEl>
                                              <a:dgm id="{81D15E99-D550-4B39-A864-34A6E38FCB65}"/>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graphicEl>
                                              <a:dgm id="{66F5A256-266D-4BE7-AFD3-BCD01C5DAD2B}"/>
                                            </p:graphicEl>
                                          </p:spTgt>
                                        </p:tgtEl>
                                        <p:attrNameLst>
                                          <p:attrName>style.visibility</p:attrName>
                                        </p:attrNameLst>
                                      </p:cBhvr>
                                      <p:to>
                                        <p:strVal val="visible"/>
                                      </p:to>
                                    </p:set>
                                    <p:animEffect transition="in" filter="fade">
                                      <p:cBhvr>
                                        <p:cTn id="32" dur="500"/>
                                        <p:tgtEl>
                                          <p:spTgt spid="6">
                                            <p:graphicEl>
                                              <a:dgm id="{66F5A256-266D-4BE7-AFD3-BCD01C5DAD2B}"/>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graphicEl>
                                              <a:dgm id="{C40F3DFB-641A-4E3F-AB78-BBB58F9DA603}"/>
                                            </p:graphicEl>
                                          </p:spTgt>
                                        </p:tgtEl>
                                        <p:attrNameLst>
                                          <p:attrName>style.visibility</p:attrName>
                                        </p:attrNameLst>
                                      </p:cBhvr>
                                      <p:to>
                                        <p:strVal val="visible"/>
                                      </p:to>
                                    </p:set>
                                    <p:animEffect transition="in" filter="fade">
                                      <p:cBhvr>
                                        <p:cTn id="35" dur="500"/>
                                        <p:tgtEl>
                                          <p:spTgt spid="6">
                                            <p:graphicEl>
                                              <a:dgm id="{C40F3DFB-641A-4E3F-AB78-BBB58F9DA60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graphicEl>
                                              <a:dgm id="{4FF426B4-E48A-4252-BAAD-B02755E253BB}"/>
                                            </p:graphicEl>
                                          </p:spTgt>
                                        </p:tgtEl>
                                        <p:attrNameLst>
                                          <p:attrName>style.visibility</p:attrName>
                                        </p:attrNameLst>
                                      </p:cBhvr>
                                      <p:to>
                                        <p:strVal val="visible"/>
                                      </p:to>
                                    </p:set>
                                    <p:animEffect transition="in" filter="fade">
                                      <p:cBhvr>
                                        <p:cTn id="40" dur="500"/>
                                        <p:tgtEl>
                                          <p:spTgt spid="6">
                                            <p:graphicEl>
                                              <a:dgm id="{4FF426B4-E48A-4252-BAAD-B02755E253B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graphicEl>
                                              <a:dgm id="{47EFA488-19BB-4254-8BDC-9FD2C7E7B549}"/>
                                            </p:graphicEl>
                                          </p:spTgt>
                                        </p:tgtEl>
                                        <p:attrNameLst>
                                          <p:attrName>style.visibility</p:attrName>
                                        </p:attrNameLst>
                                      </p:cBhvr>
                                      <p:to>
                                        <p:strVal val="visible"/>
                                      </p:to>
                                    </p:set>
                                    <p:animEffect transition="in" filter="fade">
                                      <p:cBhvr>
                                        <p:cTn id="43" dur="500"/>
                                        <p:tgtEl>
                                          <p:spTgt spid="6">
                                            <p:graphicEl>
                                              <a:dgm id="{47EFA488-19BB-4254-8BDC-9FD2C7E7B54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23263"/>
          <a:stretch/>
        </p:blipFill>
        <p:spPr>
          <a:xfrm>
            <a:off x="4094" y="-36978"/>
            <a:ext cx="12183813" cy="6931958"/>
          </a:xfrm>
          <a:prstGeom prst="rect">
            <a:avLst/>
          </a:prstGeom>
        </p:spPr>
      </p:pic>
      <p:grpSp>
        <p:nvGrpSpPr>
          <p:cNvPr id="4" name="Group 3"/>
          <p:cNvGrpSpPr/>
          <p:nvPr/>
        </p:nvGrpSpPr>
        <p:grpSpPr>
          <a:xfrm>
            <a:off x="2089020" y="2831471"/>
            <a:ext cx="8013964" cy="1101004"/>
            <a:chOff x="2130908" y="2887751"/>
            <a:chExt cx="8174661" cy="1123081"/>
          </a:xfrm>
        </p:grpSpPr>
        <p:cxnSp>
          <p:nvCxnSpPr>
            <p:cNvPr id="5" name="Straight Connector 4"/>
            <p:cNvCxnSpPr/>
            <p:nvPr/>
          </p:nvCxnSpPr>
          <p:spPr>
            <a:xfrm>
              <a:off x="2130908" y="2887751"/>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2130908" y="4010832"/>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359815" y="2969247"/>
              <a:ext cx="3716863" cy="960092"/>
            </a:xfrm>
            <a:prstGeom prst="rect">
              <a:avLst/>
            </a:prstGeom>
            <a:noFill/>
            <a:ln>
              <a:noFill/>
            </a:ln>
          </p:spPr>
          <p:txBody>
            <a:bodyPr wrap="none" lIns="179259" tIns="143407" rIns="179259" bIns="143407" rtlCol="0" anchor="ctr">
              <a:spAutoFit/>
            </a:bodyPr>
            <a:lstStyle/>
            <a:p>
              <a:pPr algn="ctr" defTabSz="914367">
                <a:lnSpc>
                  <a:spcPct val="90000"/>
                </a:lnSpc>
                <a:spcAft>
                  <a:spcPts val="588"/>
                </a:spcAft>
                <a:defRPr/>
              </a:pPr>
              <a:r>
                <a:rPr lang="en-US" sz="4704" spc="147">
                  <a:gradFill>
                    <a:gsLst>
                      <a:gs pos="2917">
                        <a:srgbClr val="353535"/>
                      </a:gs>
                      <a:gs pos="100000">
                        <a:srgbClr val="353535"/>
                      </a:gs>
                    </a:gsLst>
                    <a:lin ang="5400000" scaled="0"/>
                  </a:gradFill>
                  <a:latin typeface="Segoe UI Light"/>
                  <a:cs typeface="Segoe UI Semilight" panose="020B0402040204020203" pitchFamily="34" charset="0"/>
                </a:rPr>
                <a:t>Data culture</a:t>
              </a:r>
            </a:p>
          </p:txBody>
        </p:sp>
      </p:grpSp>
    </p:spTree>
    <p:extLst>
      <p:ext uri="{BB962C8B-B14F-4D97-AF65-F5344CB8AC3E}">
        <p14:creationId xmlns:p14="http://schemas.microsoft.com/office/powerpoint/2010/main" val="1200099247"/>
      </p:ext>
    </p:extLst>
  </p:cSld>
  <p:clrMapOvr>
    <a:masterClrMapping/>
  </p:clrMapOvr>
  <p:transition advTm="26606">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A8785-581D-4C43-8CCA-779890E594A7}"/>
              </a:ext>
            </a:extLst>
          </p:cNvPr>
          <p:cNvSpPr>
            <a:spLocks noGrp="1"/>
          </p:cNvSpPr>
          <p:nvPr>
            <p:ph type="title"/>
          </p:nvPr>
        </p:nvSpPr>
        <p:spPr/>
        <p:txBody>
          <a:bodyPr/>
          <a:lstStyle/>
          <a:p>
            <a:r>
              <a:rPr lang="en-GB" dirty="0"/>
              <a:t>What led to this series…</a:t>
            </a:r>
          </a:p>
        </p:txBody>
      </p:sp>
      <p:graphicFrame>
        <p:nvGraphicFramePr>
          <p:cNvPr id="4" name="Diagram 3">
            <a:extLst>
              <a:ext uri="{FF2B5EF4-FFF2-40B4-BE49-F238E27FC236}">
                <a16:creationId xmlns:a16="http://schemas.microsoft.com/office/drawing/2014/main" id="{88FE0542-D57E-42A1-BE02-4BF0C3A00ECE}"/>
              </a:ext>
            </a:extLst>
          </p:cNvPr>
          <p:cNvGraphicFramePr/>
          <p:nvPr/>
        </p:nvGraphicFramePr>
        <p:xfrm>
          <a:off x="481080" y="1099450"/>
          <a:ext cx="10979948" cy="5294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8741698"/>
      </p:ext>
    </p:extLst>
  </p:cSld>
  <p:clrMapOvr>
    <a:masterClrMapping/>
  </p:clrMapOvr>
  <mc:AlternateContent xmlns:mc="http://schemas.openxmlformats.org/markup-compatibility/2006" xmlns:p14="http://schemas.microsoft.com/office/powerpoint/2010/main">
    <mc:Choice Requires="p14">
      <p:transition spd="med" p14:dur="700" advTm="293928">
        <p:fade/>
      </p:transition>
    </mc:Choice>
    <mc:Fallback xmlns="">
      <p:transition spd="med" advTm="29392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E5DB8780-D17C-47A7-BFE5-A859BFC90A9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321E2A76-903A-49F9-8AD7-9C8DCAC8DC0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0EB88D22-9476-489B-94B3-4A9139D99A7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5B96E3A4-F3F2-45A8-9730-FC402A2A87C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1E93BFFE-632C-406D-A7EB-B2A7ED8EE13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79D869E6-DB54-4DE4-947C-09BA4B76940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dirty="0"/>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3956116663"/>
      </p:ext>
    </p:extLst>
  </p:cSld>
  <p:clrMapOvr>
    <a:masterClrMapping/>
  </p:clrMapOvr>
  <p:transition advTm="134078">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p:bldP spid="31" grpId="0"/>
      <p:bldP spid="32" grpId="0" animBg="1"/>
      <p:bldP spid="33" grpId="0"/>
      <p:bldP spid="34" grpId="0"/>
      <p:bldP spid="35" grpId="0"/>
      <p:bldP spid="39" grpId="0"/>
      <p:bldP spid="40" grpId="0" animBg="1"/>
      <p:bldP spid="41" grpId="0"/>
      <p:bldP spid="44" grpId="0"/>
      <p:bldP spid="46" grpId="0"/>
      <p:bldP spid="47" grpId="0"/>
      <p:bldP spid="2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dirty="0"/>
              <a:t>Power</a:t>
            </a:r>
            <a:r>
              <a:rPr lang="en-US" sz="4400" kern="1200" dirty="0">
                <a:solidFill>
                  <a:schemeClr val="tx1"/>
                </a:solidFill>
                <a:latin typeface="+mj-lt"/>
                <a:ea typeface="+mj-ea"/>
                <a:cs typeface="+mj-cs"/>
              </a:rPr>
              <a:t> </a:t>
            </a:r>
            <a:r>
              <a:rPr lang="en-US" sz="4900" dirty="0"/>
              <a:t>BI Adoption Methodology</a:t>
            </a:r>
          </a:p>
        </p:txBody>
      </p:sp>
      <p:grpSp>
        <p:nvGrpSpPr>
          <p:cNvPr id="2" name="Group 1">
            <a:extLst>
              <a:ext uri="{FF2B5EF4-FFF2-40B4-BE49-F238E27FC236}">
                <a16:creationId xmlns:a16="http://schemas.microsoft.com/office/drawing/2014/main" id="{228EEA4C-2DD4-4DFC-8D38-64E23F940910}"/>
              </a:ext>
            </a:extLst>
          </p:cNvPr>
          <p:cNvGrpSpPr/>
          <p:nvPr/>
        </p:nvGrpSpPr>
        <p:grpSpPr>
          <a:xfrm>
            <a:off x="816761" y="1613480"/>
            <a:ext cx="1485598" cy="1458913"/>
            <a:chOff x="816761" y="1613480"/>
            <a:chExt cx="1485598" cy="1458913"/>
          </a:xfrm>
        </p:grpSpPr>
        <p:sp>
          <p:nvSpPr>
            <p:cNvPr id="9" name="Oval 8">
              <a:extLst>
                <a:ext uri="{FF2B5EF4-FFF2-40B4-BE49-F238E27FC236}">
                  <a16:creationId xmlns:a16="http://schemas.microsoft.com/office/drawing/2014/main" id="{2136DDD4-FAA5-418C-890C-F2C2771DB8DE}"/>
                </a:ext>
              </a:extLst>
            </p:cNvPr>
            <p:cNvSpPr/>
            <p:nvPr/>
          </p:nvSpPr>
          <p:spPr>
            <a:xfrm>
              <a:off x="1106453" y="214623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0" name="Rectangle 9" descr="Lightbulb">
              <a:extLst>
                <a:ext uri="{FF2B5EF4-FFF2-40B4-BE49-F238E27FC236}">
                  <a16:creationId xmlns:a16="http://schemas.microsoft.com/office/drawing/2014/main" id="{B3706D24-28CE-43E6-966A-2804B48DE704}"/>
                </a:ext>
              </a:extLst>
            </p:cNvPr>
            <p:cNvSpPr/>
            <p:nvPr/>
          </p:nvSpPr>
          <p:spPr>
            <a:xfrm>
              <a:off x="1299581" y="2343613"/>
              <a:ext cx="519959" cy="531402"/>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2BEDC0A8-0B3D-4E2B-A4D1-2AA704C5A84D}"/>
                </a:ext>
              </a:extLst>
            </p:cNvPr>
            <p:cNvSpPr/>
            <p:nvPr/>
          </p:nvSpPr>
          <p:spPr>
            <a:xfrm>
              <a:off x="816761" y="161348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Envision</a:t>
              </a:r>
              <a:endParaRPr lang="en-US" sz="2000" kern="1200" dirty="0"/>
            </a:p>
          </p:txBody>
        </p:sp>
      </p:grpSp>
      <p:grpSp>
        <p:nvGrpSpPr>
          <p:cNvPr id="3" name="Group 2">
            <a:extLst>
              <a:ext uri="{FF2B5EF4-FFF2-40B4-BE49-F238E27FC236}">
                <a16:creationId xmlns:a16="http://schemas.microsoft.com/office/drawing/2014/main" id="{01EA8E7B-CCC5-4D1A-BC84-F2A33699B687}"/>
              </a:ext>
            </a:extLst>
          </p:cNvPr>
          <p:cNvGrpSpPr/>
          <p:nvPr/>
        </p:nvGrpSpPr>
        <p:grpSpPr>
          <a:xfrm>
            <a:off x="816761" y="3390612"/>
            <a:ext cx="1485598" cy="1329282"/>
            <a:chOff x="816761" y="3390612"/>
            <a:chExt cx="1485598" cy="1329282"/>
          </a:xfrm>
        </p:grpSpPr>
        <p:sp>
          <p:nvSpPr>
            <p:cNvPr id="12" name="Oval 11">
              <a:extLst>
                <a:ext uri="{FF2B5EF4-FFF2-40B4-BE49-F238E27FC236}">
                  <a16:creationId xmlns:a16="http://schemas.microsoft.com/office/drawing/2014/main" id="{B32C8DAD-A6DF-477B-B4EC-4AA315E433F7}"/>
                </a:ext>
              </a:extLst>
            </p:cNvPr>
            <p:cNvSpPr/>
            <p:nvPr/>
          </p:nvSpPr>
          <p:spPr>
            <a:xfrm>
              <a:off x="1106453" y="3793736"/>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3" name="Rectangle 12" descr="Meeting">
              <a:extLst>
                <a:ext uri="{FF2B5EF4-FFF2-40B4-BE49-F238E27FC236}">
                  <a16:creationId xmlns:a16="http://schemas.microsoft.com/office/drawing/2014/main" id="{811C7E6C-79E4-4D82-9A62-A564EC9B7CCF}"/>
                </a:ext>
              </a:extLst>
            </p:cNvPr>
            <p:cNvSpPr/>
            <p:nvPr/>
          </p:nvSpPr>
          <p:spPr>
            <a:xfrm>
              <a:off x="1299581" y="3991114"/>
              <a:ext cx="519959" cy="531402"/>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24E3B02E-5951-49FF-BFAD-7082C0F18455}"/>
                </a:ext>
              </a:extLst>
            </p:cNvPr>
            <p:cNvSpPr/>
            <p:nvPr/>
          </p:nvSpPr>
          <p:spPr>
            <a:xfrm>
              <a:off x="816761" y="3390612"/>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On-board</a:t>
              </a:r>
              <a:endParaRPr lang="en-US" sz="2000" kern="1200" dirty="0"/>
            </a:p>
          </p:txBody>
        </p:sp>
      </p:grpSp>
      <p:grpSp>
        <p:nvGrpSpPr>
          <p:cNvPr id="5" name="Group 4">
            <a:extLst>
              <a:ext uri="{FF2B5EF4-FFF2-40B4-BE49-F238E27FC236}">
                <a16:creationId xmlns:a16="http://schemas.microsoft.com/office/drawing/2014/main" id="{68643AEF-EC90-439B-972C-C5C1D104434F}"/>
              </a:ext>
            </a:extLst>
          </p:cNvPr>
          <p:cNvGrpSpPr/>
          <p:nvPr/>
        </p:nvGrpSpPr>
        <p:grpSpPr>
          <a:xfrm>
            <a:off x="816761" y="5047560"/>
            <a:ext cx="1485598" cy="1331913"/>
            <a:chOff x="816761" y="5047560"/>
            <a:chExt cx="1485598" cy="1331913"/>
          </a:xfrm>
        </p:grpSpPr>
        <p:sp>
          <p:nvSpPr>
            <p:cNvPr id="15" name="Oval 14">
              <a:extLst>
                <a:ext uri="{FF2B5EF4-FFF2-40B4-BE49-F238E27FC236}">
                  <a16:creationId xmlns:a16="http://schemas.microsoft.com/office/drawing/2014/main" id="{98169B2A-2A27-4696-B9B9-85F7358E31A8}"/>
                </a:ext>
              </a:extLst>
            </p:cNvPr>
            <p:cNvSpPr/>
            <p:nvPr/>
          </p:nvSpPr>
          <p:spPr>
            <a:xfrm>
              <a:off x="1106453" y="545331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6" name="Rectangle 15" descr="Head with Gears">
              <a:extLst>
                <a:ext uri="{FF2B5EF4-FFF2-40B4-BE49-F238E27FC236}">
                  <a16:creationId xmlns:a16="http://schemas.microsoft.com/office/drawing/2014/main" id="{368DD1BF-1123-4B0A-909D-0BA59EDF69A6}"/>
                </a:ext>
              </a:extLst>
            </p:cNvPr>
            <p:cNvSpPr/>
            <p:nvPr/>
          </p:nvSpPr>
          <p:spPr>
            <a:xfrm>
              <a:off x="1299581" y="5650693"/>
              <a:ext cx="519959" cy="53140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0A29352A-E545-4E13-851C-AA2FE86CC4BE}"/>
                </a:ext>
              </a:extLst>
            </p:cNvPr>
            <p:cNvSpPr/>
            <p:nvPr/>
          </p:nvSpPr>
          <p:spPr>
            <a:xfrm>
              <a:off x="816761" y="504756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Drive value</a:t>
              </a:r>
              <a:endParaRPr lang="en-US" sz="2000" kern="1200" dirty="0"/>
            </a:p>
          </p:txBody>
        </p:sp>
      </p:grpSp>
      <p:graphicFrame>
        <p:nvGraphicFramePr>
          <p:cNvPr id="21" name="Diagram 20">
            <a:extLst>
              <a:ext uri="{FF2B5EF4-FFF2-40B4-BE49-F238E27FC236}">
                <a16:creationId xmlns:a16="http://schemas.microsoft.com/office/drawing/2014/main" id="{F610FFF2-23D6-4978-B1EC-C03FA6E54578}"/>
              </a:ext>
            </a:extLst>
          </p:cNvPr>
          <p:cNvGraphicFramePr/>
          <p:nvPr/>
        </p:nvGraphicFramePr>
        <p:xfrm>
          <a:off x="2769718" y="3305945"/>
          <a:ext cx="9117481" cy="190173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2" name="Diagram 21">
            <a:extLst>
              <a:ext uri="{FF2B5EF4-FFF2-40B4-BE49-F238E27FC236}">
                <a16:creationId xmlns:a16="http://schemas.microsoft.com/office/drawing/2014/main" id="{9F489416-7161-4416-BEB2-549B2B10914B}"/>
              </a:ext>
            </a:extLst>
          </p:cNvPr>
          <p:cNvGraphicFramePr/>
          <p:nvPr/>
        </p:nvGraphicFramePr>
        <p:xfrm>
          <a:off x="2748280" y="1690688"/>
          <a:ext cx="9138920" cy="1746784"/>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23" name="Diagram 22">
            <a:extLst>
              <a:ext uri="{FF2B5EF4-FFF2-40B4-BE49-F238E27FC236}">
                <a16:creationId xmlns:a16="http://schemas.microsoft.com/office/drawing/2014/main" id="{CFC833C9-7D5E-4A6F-B3DE-36889960662E}"/>
              </a:ext>
            </a:extLst>
          </p:cNvPr>
          <p:cNvGraphicFramePr/>
          <p:nvPr/>
        </p:nvGraphicFramePr>
        <p:xfrm>
          <a:off x="2769719" y="5001363"/>
          <a:ext cx="9117480" cy="1830062"/>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Tree>
    <p:custDataLst>
      <p:tags r:id="rId1"/>
    </p:custDataLst>
    <p:extLst>
      <p:ext uri="{BB962C8B-B14F-4D97-AF65-F5344CB8AC3E}">
        <p14:creationId xmlns:p14="http://schemas.microsoft.com/office/powerpoint/2010/main" val="2252042619"/>
      </p:ext>
    </p:extLst>
  </p:cSld>
  <p:clrMapOvr>
    <a:masterClrMapping/>
  </p:clrMapOvr>
  <mc:AlternateContent xmlns:mc="http://schemas.openxmlformats.org/markup-compatibility/2006" xmlns:p14="http://schemas.microsoft.com/office/powerpoint/2010/main">
    <mc:Choice Requires="p14">
      <p:transition spd="med" p14:dur="700" advTm="21665">
        <p:fade/>
      </p:transition>
    </mc:Choice>
    <mc:Fallback xmlns="">
      <p:transition spd="med" advTm="216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graphicEl>
                                              <a:dgm id="{76AAF56F-D4D7-4577-94A9-CDD5DC0599F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graphicEl>
                                              <a:dgm id="{D850B575-8268-47C9-BA65-19D4C41AF72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graphicEl>
                                              <a:dgm id="{4D714C27-05B4-4ED3-A13F-C6955017C71B}"/>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graphicEl>
                                              <a:dgm id="{319A0EE5-FAE2-47D1-9B8C-2CB650E731B7}"/>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graphicEl>
                                              <a:dgm id="{76AAF56F-D4D7-4577-94A9-CDD5DC0599FE}"/>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graphicEl>
                                              <a:dgm id="{5DB35AF2-9F99-41D1-8632-C9180952D400}"/>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graphicEl>
                                              <a:dgm id="{CEF4917A-2583-498A-ACAC-CF0D58E8F0A6}"/>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graphicEl>
                                              <a:dgm id="{477157D4-E55E-4D4B-941F-24801F1D36AC}"/>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graphicEl>
                                              <a:dgm id="{76AAF56F-D4D7-4577-94A9-CDD5DC0599FE}"/>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3">
                                            <p:graphicEl>
                                              <a:dgm id="{44A7D895-1910-4068-8F24-1EC9C16B09C5}"/>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graphicEl>
                                              <a:dgm id="{7E62F2A4-EBAB-4D1C-AFFC-123B159E248A}"/>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3">
                                            <p:graphicEl>
                                              <a:dgm id="{B41BF3A0-5F9B-4C4A-AFF8-07F25F44D47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1" grpId="0">
        <p:bldSub>
          <a:bldDgm bld="lvlOne"/>
        </p:bldSub>
      </p:bldGraphic>
      <p:bldGraphic spid="22" grpId="0">
        <p:bldSub>
          <a:bldDgm bld="lvlOne"/>
        </p:bldSub>
      </p:bldGraphic>
      <p:bldGraphic spid="23" grpId="0">
        <p:bldSub>
          <a:bldDgm bld="lvl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c5f6ffe8af8ff86ede2ebccd4a0c35c3&quot;,&quot;LanguageCode&quot;:&quot;en-US&quot;,&quot;SlideGuids&quot;:[&quot;bd27f58f-8c31-4e7f-8019-4e9ea7440194&quot;,&quot;f4edd891-cf7b-4af1-b457-fda75983cd76&quot;,&quot;4fce7e8f-50b7-4d01-968d-17c53484dc35&quot;,&quot;36c05d59-487e-4428-be68-292ba87e2e88&quot;,&quot;e4f358bb-0a8a-43a4-af8b-ed2b86a5292d&quot;,&quot;73e88970-58f8-49e4-815b-2c8cebe190b7&quot;,&quot;ce0b18dc-a1a4-4894-a951-897e32fedeb6&quot;,&quot;ce0b18dc-a1a4-4894-a951-897e32fedeb6&quot;,&quot;374f825a-13f8-4952-ba97-1e14101da527&quot;,&quot;2fe54f78-5ea0-4d0b-805c-26d8d6cfced0&quot;,&quot;3efde332-63f5-4e1a-ad7f-6a94bb7656c7&quot;,&quot;eed123e6-906f-40d4-8807-554262ac7776&quot;,&quot;51dd0746-5d84-4fdb-93a7-5223aa4d1a8c&quot;,&quot;2b03987f-721d-490a-b0d8-5f257472c9a5&quot;,&quot;21ff8925-b956-4314-83d7-6cdc03986049&quot;,&quot;4e7f7d60-f55b-44ea-8ede-a403e3c8b6ad&quot;,&quot;da2adfd3-6c85-445c-8a04-961772a752c0&quot;,&quot;fe0e102e-fa6a-43a7-87ca-99cef675104a&quot;,&quot;6353fe2a-8fb5-4e98-b81c-b4b9c9beb156&quot;,&quot;03427c60-ee99-455b-a44c-a9cda6291dc8&quot;,&quot;2c93c07c-7a0a-41ca-9a3a-7d613d9fd0de&quot;,&quot;494ec137-621c-4f97-a361-276b4fcbee0e&quot;,&quot;008edbbb-4a39-4b72-98c5-c7d4cdfa191f&quot;,&quot;e02d702e-9f95-45a0-80d4-9575e33a68b3&quot;,&quot;cfda5b28-833b-4506-8188-d4ffce54241a&quot;,&quot;07e92643-9087-408d-b764-2ebf928fd394&quot;,&quot;29540760-7625-442a-9995-db32325be7d4&quot;,&quot;8587c752-79d1-479d-8ef8-85efa1aa0b67&quot;,&quot;668632f4-1faa-41b3-a042-41899efb1fb7&quot;,&quot;04cb979c-bf26-4d05-8c1b-353c68b7b84f&quot;,&quot;de6c6708-d36b-486b-b05b-68381d79eaa9&quot;,&quot;c327785d-45fd-4c3a-a802-64f4a4200f80&quot;,&quot;cf2ce322-1e34-43c9-8b86-28a0a8167f13&quot;,&quot;3bd05ad5-7897-458d-8f6f-8480a0a35fcb&quot;,&quot;c077a30f-ea27-4449-9251-26a19143ee84&quot;,&quot;090afc66-c719-44b4-874c-216a38fc64a2&quot;,&quot;78314123-b804-4988-ba2c-af62340ba375&quot;,&quot;36767db7-869c-462e-88cf-542e5581b00c&quot;,&quot;9a223591-8d32-4dbb-8ba6-bafc7ce2c760&quot;,&quot;b24050bc-9d77-4a67-b6b0-26bd09d6581a&quot;,&quot;b201441e-60b7-49c5-93ad-83ff52c03358&quot;,&quot;3827b110-5ef1-43d2-83b4-154f779ed230&quot;,&quot;455962cc-f796-4d42-ae44-875eac3e68b8&quot;,&quot;3c000986-b36d-46c2-8c7c-71e59c011460&quot;,&quot;48af0919-8a65-4d16-b9ad-7cb7cad26f05&quot;,&quot;83c66928-fbc7-4c75-a1cf-c591c1bbc2c3&quot;,&quot;b707b591-a086-4e02-a0b1-220d6da94597&quot;,&quot;0256cb45-836f-46d8-94b0-6bb946e64bcc&quot;,&quot;59bec75d-28ee-47a6-bfef-45232b7ee116&quot;,&quot;968ecc2f-6843-44b0-96a1-4f9971029d74&quot;,&quot;f61b5cc7-85d7-4612-8629-2aa2ba4381ed&quot;,&quot;63f9d5fc-4f14-4ce8-88ef-541901c5cee9&quot;,&quot;78cb7161-df01-4cfa-b142-efee8fa3e781&quot;,&quot;4521d720-38ff-49fc-8fe0-9bbed5520aad&quot;,&quot;14ae06bf-5bd4-492d-8c23-22b13e2ac58f&quot;,&quot;5190989d-2461-45b6-a39e-f1ca52676412&quot;,&quot;02a645ae-6a59-4e8a-a538-33c5e7ddb351&quot;,&quot;3d302933-48b9-4e7e-8c93-60bf219b7775&quot;,&quot;2f748345-6a00-459e-825c-662f11f6a350&quot;,&quot;6825c889-ffc8-4030-b217-d15aa94b9f36&quot;,&quot;6b3a2c27-e00e-4105-8522-28c2428289aa&quot;,&quot;604801f3-442b-4dd5-b28b-6733268e031b&quot;,&quot;d3056f23-c866-48c1-85f0-8f160f5b94b0&quot;,&quot;488e8923-755b-43cd-b244-3e0770e2de45&quot;,&quot;c92aa6f5-b589-446c-b183-3ac0aca9b633&quot;,&quot;b1dc052e-c4ae-4df4-ad79-b8d1a734ddd2&quot;,&quot;1175f602-1345-4601-964f-4120ac631631&quot;,&quot;6ba7af5a-8aac-45d6-842e-d58bd12d5498&quot;,&quot;b53828cf-b8ac-40bd-b8c2-e009f9031aea&quot;,&quot;f4a63e25-93df-4f8b-848c-321b9c110a8c&quot;,&quot;0dadf319-610b-47e4-8a8d-04c443ceaba0&quot;,&quot;6c373499-d933-4f50-b177-e2e4be50f6b3&quot;,&quot;50e017a5-0b46-45b4-96f4-99c57ea0facf&quot;,&quot;42797224-8780-45ef-9556-b12a91c23f53&quot;,&quot;59216eab-a9e7-4829-8f38-b3d416328428&quot;,&quot;f422aee5-af96-456d-9f5c-02b988ead3d9&quot;,&quot;44a86195-3614-42df-b676-eacc8143a1d0&quot;,&quot;2cbd6a10-8742-4fb9-af33-258a18d8da8a&quot;,&quot;add41386-2969-4408-8ab3-74df70141b56&quot;,&quot;bfe28f68-6473-4497-ab76-33fee8a31dfc&quot;,&quot;613c22ba-b87b-4db9-b8b4-9fa7016fce29&quot;,&quot;d47595e4-78b6-4e2c-8426-5967385effb9&quot;,&quot;69aaba50-1fd9-4e4c-bdb9-9142f463c028&quot;,&quot;4bffc3e7-6d8a-4bb2-a1f7-4b71e3081837&quot;,&quot;b7996406-73df-4918-8aab-5eb099491486&quot;,&quot;cc58137f-fd0e-4910-9672-9245a6ddc401&quot;,&quot;d6268804-9ec6-499f-9d6e-13d6a7ea3355&quot;,&quot;b4af48fc-2d3d-400f-9bef-56984d4e5d82&quot;,&quot;f332053b-e5d4-464b-a096-114bfd2ae778&quot;,&quot;eafd813e-2503-4f2e-8cf5-284ef4e2b6c1&quot;,&quot;8669328a-33e5-4669-b64b-5dac327aafdb&quot;,&quot;d666803f-f197-4306-b6ce-4514482c9488&quot;,&quot;45187a35-74ee-4aa9-8e02-c58377bb6e85&quot;,&quot;623826cb-5be4-445e-b956-72c99d7ec0dd&quot;,&quot;9ba47dd3-8365-4a41-b9f3-fcddaa3aef4a&quot;,&quot;f977a9cb-5999-4bbf-850d-1eac2fefb6ea&quot;,&quot;3a15f807-3431-48fe-a793-488eaf994906&quot;,&quot;63a5eefd-5f9d-4e66-88d7-a8d7f2cbb9cb&quot;,&quot;8bd9ecff-e143-4021-a785-debf3457163a&quot;,&quot;53fac9f0-698c-46fa-b964-c20d1169ed30&quot;,&quot;3f138df9-9774-4417-a9c2-ee56ab1d3c9f&quot;,&quot;cffb766c-5e1b-447d-b287-2e1a985d9f88&quot;,&quot;d5c0e9ff-d478-473a-b4f7-dfec9dbdb2c2&quot;,&quot;a3c82b6d-15da-48e3-a61a-f2299217c467&quot;,&quot;e9f2aed1-bc4b-4a5c-b71d-be5a3be82079&quot;,&quot;5ae25384-add2-4c98-9f52-c46147697bb5&quot;,&quot;c434c421-b204-452f-bac4-fc6aeb855f0c&quot;,&quot;6b59afee-f7cf-4824-ad76-a5958888f953&quot;,&quot;fda37079-4350-4d51-aff2-46dfdcdcb4fc&quot;,&quot;4a8ff623-585a-44db-b977-24927a7ebf46&quot;,&quot;529c02d5-e1a8-4f4a-a470-eead622758ad&quot;,&quot;b81f408f-decc-4322-a2e0-95e58af507e5&quot;,&quot;9d24e936-84b0-4631-8258-413d8fd1bcef&quot;,&quot;8396da3e-fcae-451b-8f6e-318f375def01&quot;,&quot;9203a1fc-e0b1-4a9b-b1b7-75e7a0a0dee5&quot;,&quot;17c45a5e-ebb6-473d-8562-a8fb0f4945df&quot;,&quot;2aee86eb-368a-4abb-b7ca-277f5f33fd18&quot;,&quot;b24c36f9-4f61-408f-9ad2-0dbb0d369aa9&quot;,&quot;d2d83f14-51b7-466d-b9e2-bd31fda55dc2&quot;,&quot;8170a419-ac10-4da4-b0fc-90f65d25e971&quot;,&quot;e5261ae0-6671-44a0-8135-a9334d5b9d8d&quot;,&quot;e3e133e5-68e4-47ce-bca5-f56c782d118d&quot;,&quot;b302d720-c583-4110-84fe-2241fdc37489&quot;,&quot;f955e6c8-62b8-4b48-bb40-6df46df6a56f&quot;,&quot;59fa61c6-fe3b-43e8-9225-eb73625f1a0f&quot;,&quot;a11cb183-16e8-48ac-a2fc-fec4f2708a1a&quot;,&quot;bb0806f2-78b1-4233-9e64-6c9cd1fefa11&quot;,&quot;729fbdd4-d5a0-45df-a814-8596f78f69d6&quot;,&quot;86bab68a-338c-4f5a-a485-6cf23b691d72&quot;,&quot;fb0a09ab-ab5d-4682-9b4f-c0eb55e88450&quot;,&quot;0c76773f-9d61-4e46-bb47-488ce2a09d24&quot;,&quot;e6b0888d-cfde-474d-ad61-981aaf793f43&quot;,&quot;84696418-18dd-4b8a-9550-fac8d9bdc3b8&quot;,&quot;966cdb95-6921-4298-9e6b-32b3daada0e7&quot;,&quot;3cf23c71-2bdd-4457-9590-5dfc62a1816f&quot;,&quot;5c62467b-e383-461a-87cb-b200fdbef8f1&quot;,&quot;799d7c19-1597-4cbf-a2fa-e4168d0d5851&quot;,&quot;b74a840c-6c9f-4f44-b999-0f821961076c&quot;,&quot;9f420262-4751-4f49-9df6-a386139ba351&quot;,&quot;ecd3b482-04d6-44dc-b0b2-3b13d753e3b8&quot;,&quot;efb99900-eef9-44c0-ada8-8dd80cfa275d&quot;,&quot;88b30436-0545-4828-a8e2-7e10186056fe&quot;,&quot;99e0e13c-0ad4-470f-9482-d4cc4170459d&quot;,&quot;17f82aa0-d8e7-4ff7-9005-849d9b5a138a&quot;,&quot;ac75fd85-2cbb-472a-a94b-80fb001836f3&quot;,&quot;0bf59e2e-1662-4beb-a9cb-f7dac8f25dc8&quot;,&quot;22d0d9c3-50eb-4e67-9597-fee82493bea5&quot;,&quot;1201f5e8-5c78-4f42-81a0-9cdc01931aca&quot;,&quot;5c7adf06-0011-4c6b-b8e1-dcbe1df0a163&quot;,&quot;ec5cac07-624e-45d7-a803-4414b46d193e&quot;,&quot;740476fb-c585-480f-9d75-e1cce9afc063&quot;,&quot;49fd6ec7-de99-4624-8325-d46da840da70&quot;,&quot;4648191d-7515-48d3-97c9-0beb1f076216&quot;,&quot;8539d23c-6abf-46f9-8c0c-317681ee28a2&quot;,&quot;30cdf0e5-bd9b-49f8-8d81-861a24f77b84&quot;,&quot;76dd1fbc-b64b-4672-ac40-0f8a89f06866&quot;,&quot;6d66e04c-669e-4419-8842-c0265db6d4af&quot;,&quot;d3d93002-44cd-41d2-8344-7723b3763375&quot;,&quot;36d0b1f8-ee96-410a-938e-10ad0047bfbd&quot;,&quot;b53f290e-b23c-4e5f-bdbc-4b89a0bd865f&quot;,&quot;ff429f87-b708-48a0-9159-b246ac41f6aa&quot;,&quot;a261d2fd-f26a-4fee-849c-badfdf08364b&quot;,&quot;b1915713-d666-499b-9d61-b9cf14454aaa&quot;,&quot;66da8720-27a4-4f11-aded-28df5965136f&quot;,&quot;73e8f1fd-13e5-4363-afa4-b61e51edacd9&quot;,&quot;3825311d-4251-4457-9541-9151a31789ef&quot;,&quot;32e4ff08-1efd-4c3e-8e18-4972cd07c0ad&quot;,&quot;82cedb5f-16fb-436b-b105-0061889208e1&quot;,&quot;1ae6c34d-b2c0-431f-9744-42291568b4dc&quot;,&quot;68430c4c-6efd-42fb-80f0-f2444fa47b78&quot;,&quot;dc31674e-83f9-44d6-b575-ae9dd39f3b00&quot;,&quot;781b0596-69eb-4de4-88d9-5b3d53009ce4&quot;,&quot;74e0ed0a-9ce0-4c38-9b6d-2fe7a3917c1a&quot;,&quot;d43cdfc6-9181-40f9-ad49-6e2e5687c58e&quot;,&quot;77744988-1bfc-453f-b59e-af2f16e5666e&quot;,&quot;3387bc85-33da-4d56-af5f-fb955284636e&quot;,&quot;c2b431e6-9775-4675-b455-c9eb85a209a7&quot;,&quot;c128e3fc-47d6-4b4b-a0d6-ef14997b7f6c&quot;,&quot;e4d6b10c-3883-4bbd-9789-88a18f488d47&quot;,&quot;c72e949d-2cae-41bd-8e41-2f5970a177ba&quot;,&quot;3f34e8e6-ef09-4e3d-b23c-e658da26dab2&quot;,&quot;6f00ca99-c12b-4f74-849f-1dd3376c7f6a&quot;,&quot;5a33d612-8f84-400c-8c62-4aa9e4ca40da&quot;,&quot;ef61e477-d04b-4e08-9581-08ed74eb133b&quot;,&quot;63ecc404-dba1-4a15-813f-6c3a65a5e14f&quot;,&quot;b1fb9e46-ffc6-4992-8c06-cc04310918aa&quot;,&quot;d84a418c-a4d1-4501-a7d2-aeb876f190e1&quot;,&quot;6e975f20-1f6c-498a-9055-f32c1851d79c&quot;,&quot;a9429e0e-a888-4e35-9326-d467a034dc3f&quot;,&quot;31abc739-592b-4fa8-8596-776cf7fdc800&quot;,&quot;0d73f182-2f12-4328-838e-f615bf53fde8&quot;,&quot;1a393b8f-496f-432a-927d-526e6f4e67e5&quot;,&quot;f17672c9-25cc-46fd-b0b7-d4b8f1a9a4d5&quot;,&quot;1fa39df0-6297-4dfc-9483-864713a25075&quot;,&quot;e0f98a76-0413-483e-bda5-59ea6ecbf15a&quot;,&quot;ac675815-4c93-459b-98b6-f90d97ab56f4&quot;,&quot;c3beef28-7d0c-4a3a-8e4e-1eee8e0dee48&quot;,&quot;e456ce84-927a-4de0-a9ca-66f33489b723&quot;,&quot;12931718-33f4-46a7-aee7-6898a3baab94&quot;,&quot;a62f0790-1ce8-4fe8-bec2-df0ee27920f5&quot;,&quot;51967c5c-f1e4-42e0-a7a3-7731e7a4d4c6&quot;,&quot;fb9794c7-9242-47f8-8592-3d1f34f3a045&quot;,&quot;97aafeb3-ee6c-406e-a03e-0736337f9f08&quot;,&quot;3a09482f-9bc1-47a8-928a-0fcdd92472a4&quot;,&quot;3193d1ea-042c-4c38-8bba-03a87b52678a&quot;,&quot;785d985c-b2c3-4268-abdd-f7b8cc81e2d9&quot;,&quot;3b8661a8-83a8-452b-b768-2b017cf484f4&quot;,&quot;7358b208-4587-4b41-9284-e45f73190bb9&quot;,&quot;fcf516d6-ac9e-441a-973a-2299ff4c1774&quot;,&quot;b3176890-c8f2-4624-9aa8-8e479d27dc68&quot;,&quot;095de789-5c68-48ca-94e1-1868371dbf72&quot;,&quot;ccc53099-771a-42be-9ea5-d3c3e64ff64e&quot;,&quot;d2264db9-f448-4486-a9ed-32ab90ca5240&quot;,&quot;4bd4e680-dad7-466d-9cdd-76852960b21d&quot;,&quot;faa48e47-23ad-4416-b110-f416df1d7574&quot;,&quot;b9ff888c-70b0-455d-9578-a2408aad96dd&quot;,&quot;51920074-c4a0-4902-97e5-be2234c9192c&quot;,&quot;891e7732-592c-48a8-8b3a-59a9dd051236&quot;,&quot;ea1a3beb-0864-4fe2-9e8e-6dac01050b5f&quot;,&quot;56026a5f-b615-4ee0-b11f-50b056eaa49d&quot;,&quot;ea85097a-8a5d-48c7-b635-f95e5bee6005&quot;,&quot;e5f3b096-2666-479b-bb41-7a58b1d7d1e4&quot;,&quot;02a3b9c4-48bc-4525-9723-ee3d095bf523&quot;,&quot;aa6a0b0e-7105-42fe-a283-ef6e2c90a4a8&quot;,&quot;31d92f9d-b406-4862-99a4-c23d9a6393c9&quot;,&quot;0c3d54a0-c97c-45a1-84c9-2b4b6c0dbfa4&quot;,&quot;5bae44fe-6e22-447f-a606-a312a4874ad6&quot;,&quot;2f8b870c-2306-48e2-b2c7-4e713028a39f&quot;,&quot;575531f2-f829-47b5-befd-9e9b6fb9b6a4&quot;,&quot;247b3404-b525-438c-b19c-bc9e82b0c7f7&quot;,&quot;8e7f3dec-196e-4a22-99fc-7030c24c2208&quot;,&quot;3fc319bf-8e2a-4383-98b4-99335fd0c3e1&quot;,&quot;02496e84-6b13-4d09-b327-376a51c91e7d&quot;,&quot;f9c419af-899d-42ce-92d5-af340ed0adb3&quot;,&quot;662427e6-eb32-4c17-9a43-81fd996c0b8a&quot;,&quot;31b53294-bf41-4071-8658-a223b0cd5ba9&quot;,&quot;8a860304-6afa-474a-8e55-f29f10c914f2&quot;,&quot;59c4a74f-a12d-4aa6-bd9c-b10bc27d631c&quot;,&quot;0fde6687-fb09-419b-af39-b1f50d309257&quot;,&quot;20296214-a541-448e-aed6-43958bc60c92&quot;,&quot;3cb79f31-d77c-490e-8449-384728744430&quot;,&quot;9cd1d042-f63d-4aab-a4c8-0f3513a0a9d0&quot;,&quot;7ef5deb9-ff23-49a0-ab53-df0f054b6ffa&quot;,&quot;c01978a5-db14-44c0-935a-de1d94e96556&quot;,&quot;07bfaa4c-c5dd-437a-921d-dfbcde781e48&quot;,&quot;716c82d2-ebe1-47dd-8943-8c7b8d817ac7&quot;,&quot;f52d3811-518b-4ace-bf3c-135b1f3e522a&quot;,&quot;ac400379-ae39-478a-88eb-a15add7ba528&quot;,&quot;e74e0e80-d292-4df1-a0f0-4d98c639af44&quot;,&quot;bf4ca86b-971b-4f4a-aafb-ae638ff41269&quot;,&quot;fe3401a1-f7cf-4526-8069-b5268753758b&quot;,&quot;35d2de6e-0023-4971-a2f9-d8df36e645fb&quot;,&quot;379896e6-ff0b-4c5d-884a-aeb4237863f7&quot;,&quot;7765df07-43c0-49c1-b433-a5c417be7c97&quot;,&quot;d5e69aed-e637-4034-a05c-050a4e1f65f2&quot;,&quot;0066a306-c518-4ce8-9bcd-5c08509f5476&quot;,&quot;0d23583e-4d18-4878-8eee-5648f96cb5d6&quot;,&quot;adcc8b78-10ca-49b7-87b9-8a4de2634b8b&quot;,&quot;7d82ce0d-52d5-476d-91e6-ac7d47fbc574&quot;,&quot;0a6e677e-ed31-43fa-810f-a298f7dcc36a&quot;,&quot;7b8bbefd-fb73-4dd3-9db1-3d9ad703e0a8&quot;,&quot;88905a90-335b-4e64-b528-f930db686cfc&quot;,&quot;a0020818-6752-442f-9fa6-63d52c7f23fc&quot;,&quot;8590fc4f-b5fd-49f7-8691-f6c1f3f9db22&quot;,&quot;ff8faf34-f7ca-41aa-8cdc-0642f9e45376&quot;,&quot;9385ebf9-8c06-4860-b296-f31ba4daf7ed&quot;,&quot;53e05db0-8851-42c7-becc-438b0795036e&quot;,&quot;67778786-cf33-4390-b808-8f30a2da9c2a&quot;,&quot;083c140a-0747-4220-87a7-031f8f578b88&quot;,&quot;e5f23a77-0d56-40da-a7fc-eecd728f6bdd&quot;,&quot;166378fb-a5c8-4342-9f73-bc25db1284a4&quot;,&quot;7feda65f-e041-487f-974b-2760087c56ec&quot;,&quot;4cb92ff9-58fc-46e3-9309-ebcc48f3c4d3&quot;,&quot;a1fc57da-6eda-4841-95a7-ba288628d3f2&quot;,&quot;297acb2e-6643-40aa-a1ef-080e94c1a71d&quot;,&quot;7fddecd3-2995-4e47-a681-a7522e5ef7b6&quot;,&quot;d4340adb-3983-4762-b1cf-945d66600bb5&quot;,&quot;c545ef80-6506-4f29-9608-66b0cff8b1ef&quot;,&quot;96aab897-7e3c-4d36-8acd-63fddf71ef00&quot;,&quot;2b0dd98d-a1bf-408c-850a-aeb9917288a5&quot;,&quot;006c79d4-136b-496a-99a2-5164aa04679e&quot;,&quot;170f6f4d-d0b8-431c-b286-0c361945cf88&quot;,&quot;1feead20-0bc1-406a-9877-a34645017860&quot;,&quot;776a289d-78fc-44b8-ba44-7796d7bbe09a&quot;,&quot;641b1c30-d7df-42b3-a97d-8d79ef8d058b&quot;,&quot;eb747dd5-f27f-4e6b-a3b5-6ec5e9d7fbf1&quot;],&quot;TimeStamp&quot;:&quot;2019-04-15T09:10:03.8482142-07: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7f7d60-f55b-44ea-8ede-a403e3c8b6ad&quot;,&quot;TimeStamp&quot;:&quot;2019-04-15T09:10:03.5861038-07: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03427c60-ee99-455b-a44c-a9cda6291dc8&quot;,&quot;TimeStamp&quot;:&quot;2019-04-15T09:10:03.5906226-07:00&quot;}"/>
  <p:tag name="TIMING" val="|22.2|16.2|12.5"/>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27f58f-8c31-4e7f-8019-4e9ea7440194&quot;,&quot;TimeStamp&quot;:&quot;2019-04-15T09:10:03.5177621-07: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5.xml><?xml version="1.0" encoding="utf-8"?>
<p:tagLst xmlns:a="http://schemas.openxmlformats.org/drawingml/2006/main" xmlns:r="http://schemas.openxmlformats.org/officeDocument/2006/relationships" xmlns:p="http://schemas.openxmlformats.org/presentationml/2006/main">
  <p:tag name="TIMING" val="|1.3|21.7|34.2"/>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2fe54f78-5ea0-4d0b-805c-26d8d6cfced0&quot;,&quot;TimeStamp&quot;:&quot;2019-04-15T09:10:03.5799143-07:00&quot;}"/>
</p:tagLst>
</file>

<file path=ppt/tags/tag7.xml><?xml version="1.0" encoding="utf-8"?>
<p:tagLst xmlns:a="http://schemas.openxmlformats.org/drawingml/2006/main" xmlns:r="http://schemas.openxmlformats.org/officeDocument/2006/relationships" xmlns:p="http://schemas.openxmlformats.org/presentationml/2006/main">
  <p:tag name="TIMING" val="|7.7|9.4|25.6|16.2"/>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2.4|35.1|22.6"/>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2.4|3.1|4.5|5.5"/>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637B333D9039F42B4A841E7D21AD3E7" ma:contentTypeVersion="5" ma:contentTypeDescription="Create a new document." ma:contentTypeScope="" ma:versionID="1f59f1658d780e0b4c7f1ae8a5e1509b">
  <xsd:schema xmlns:xsd="http://www.w3.org/2001/XMLSchema" xmlns:xs="http://www.w3.org/2001/XMLSchema" xmlns:p="http://schemas.microsoft.com/office/2006/metadata/properties" xmlns:ns2="3520180a-3b72-4868-9ddb-261d82f11a91" targetNamespace="http://schemas.microsoft.com/office/2006/metadata/properties" ma:root="true" ma:fieldsID="e8c07af3b0c20b254d99977dc4d26b0c" ns2:_="">
    <xsd:import namespace="3520180a-3b72-4868-9ddb-261d82f11a9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20180a-3b72-4868-9ddb-261d82f11a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48A5D7-FD0D-4497-ADB2-773C6533B2F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3.xml><?xml version="1.0" encoding="utf-8"?>
<ds:datastoreItem xmlns:ds="http://schemas.openxmlformats.org/officeDocument/2006/customXml" ds:itemID="{E37292E9-12B4-4E82-95E1-848C8ADB28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20180a-3b72-4868-9ddb-261d82f11a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41</Words>
  <Application>Microsoft Office PowerPoint</Application>
  <PresentationFormat>Widescreen</PresentationFormat>
  <Paragraphs>100</Paragraphs>
  <Slides>1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Segoe UI</vt:lpstr>
      <vt:lpstr>Segoe UI Black</vt:lpstr>
      <vt:lpstr>Segoe UI Light</vt:lpstr>
      <vt:lpstr>Segoe UI Semibold</vt:lpstr>
      <vt:lpstr>Wingdings</vt:lpstr>
      <vt:lpstr>STB Product Families 2015</vt:lpstr>
      <vt:lpstr>think-cell Slide</vt:lpstr>
      <vt:lpstr>Power BI Adoption Framework</vt:lpstr>
      <vt:lpstr>Introduction</vt:lpstr>
      <vt:lpstr>Why care about Power BI Adoption?</vt:lpstr>
      <vt:lpstr>IT transformation is dependent on behaviour change…</vt:lpstr>
      <vt:lpstr>Stages of Technology Adoption</vt:lpstr>
      <vt:lpstr>PowerPoint Presentation</vt:lpstr>
      <vt:lpstr>What led to this series…</vt:lpstr>
      <vt:lpstr>Learning from existing customers</vt:lpstr>
      <vt:lpstr>Power BI Adoption Methodology</vt:lpstr>
      <vt:lpstr>Engagement Model</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4-22T21:28:46Z</dcterms:created>
  <dcterms:modified xsi:type="dcterms:W3CDTF">2019-11-07T14:5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kanw@microsoft.com</vt:lpwstr>
  </property>
  <property fmtid="{D5CDD505-2E9C-101B-9397-08002B2CF9AE}" pid="5" name="MSIP_Label_f42aa342-8706-4288-bd11-ebb85995028c_SetDate">
    <vt:lpwstr>2019-04-22T21:33:14.30238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d8c226d-71b3-4948-8a75-4fea39b7ed7d</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4637B333D9039F42B4A841E7D21AD3E7</vt:lpwstr>
  </property>
</Properties>
</file>